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notesSlides/notesSlide13.xml" ContentType="application/vnd.openxmlformats-officedocument.presentationml.notesSlide+xml"/>
  <Override PartName="/ppt/charts/chart6.xml" ContentType="application/vnd.openxmlformats-officedocument.drawingml.chart+xml"/>
  <Override PartName="/ppt/charts/style2.xml" ContentType="application/vnd.ms-office.chartstyle+xml"/>
  <Override PartName="/ppt/charts/colors2.xml" ContentType="application/vnd.ms-office.chartcolorstyle+xml"/>
  <Override PartName="/ppt/charts/chart7.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14.xml" ContentType="application/vnd.openxmlformats-officedocument.presentationml.notesSlide+xml"/>
  <Override PartName="/ppt/charts/chart8.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15.xml" ContentType="application/vnd.openxmlformats-officedocument.presentationml.notesSlide+xml"/>
  <Override PartName="/ppt/charts/chart9.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16.xml" ContentType="application/vnd.openxmlformats-officedocument.presentationml.notesSlide+xml"/>
  <Override PartName="/ppt/charts/chart10.xml" ContentType="application/vnd.openxmlformats-officedocument.drawingml.chart+xml"/>
  <Override PartName="/ppt/charts/style6.xml" ContentType="application/vnd.ms-office.chartstyle+xml"/>
  <Override PartName="/ppt/charts/colors6.xml" ContentType="application/vnd.ms-office.chartcolorstyle+xml"/>
  <Override PartName="/ppt/charts/chart11.xml" ContentType="application/vnd.openxmlformats-officedocument.drawingml.chart+xml"/>
  <Override PartName="/ppt/charts/style7.xml" ContentType="application/vnd.ms-office.chartstyle+xml"/>
  <Override PartName="/ppt/charts/colors7.xml" ContentType="application/vnd.ms-office.chartcolorstyle+xml"/>
  <Override PartName="/ppt/charts/chart12.xml" ContentType="application/vnd.openxmlformats-officedocument.drawingml.chart+xml"/>
  <Override PartName="/ppt/charts/style8.xml" ContentType="application/vnd.ms-office.chartstyle+xml"/>
  <Override PartName="/ppt/charts/colors8.xml" ContentType="application/vnd.ms-office.chartcolorstyle+xml"/>
  <Override PartName="/ppt/charts/chart13.xml" ContentType="application/vnd.openxmlformats-officedocument.drawingml.chart+xml"/>
  <Override PartName="/ppt/charts/style9.xml" ContentType="application/vnd.ms-office.chartstyle+xml"/>
  <Override PartName="/ppt/charts/colors9.xml" ContentType="application/vnd.ms-office.chartcolorstyle+xml"/>
  <Override PartName="/ppt/notesSlides/notesSlide17.xml" ContentType="application/vnd.openxmlformats-officedocument.presentationml.notesSlide+xml"/>
  <Override PartName="/ppt/charts/chart14.xml" ContentType="application/vnd.openxmlformats-officedocument.drawingml.chart+xml"/>
  <Override PartName="/ppt/charts/style10.xml" ContentType="application/vnd.ms-office.chartstyle+xml"/>
  <Override PartName="/ppt/charts/colors10.xml" ContentType="application/vnd.ms-office.chartcolorstyle+xml"/>
  <Override PartName="/ppt/notesSlides/notesSlide18.xml" ContentType="application/vnd.openxmlformats-officedocument.presentationml.notesSlide+xml"/>
  <Override PartName="/ppt/charts/chart15.xml" ContentType="application/vnd.openxmlformats-officedocument.drawingml.chart+xml"/>
  <Override PartName="/ppt/charts/style11.xml" ContentType="application/vnd.ms-office.chartstyle+xml"/>
  <Override PartName="/ppt/charts/colors11.xml" ContentType="application/vnd.ms-office.chartcolorstyl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charts/chart16.xml" ContentType="application/vnd.openxmlformats-officedocument.drawingml.chart+xml"/>
  <Override PartName="/ppt/charts/style12.xml" ContentType="application/vnd.ms-office.chartstyle+xml"/>
  <Override PartName="/ppt/charts/colors12.xml" ContentType="application/vnd.ms-office.chartcolorstyle+xml"/>
  <Override PartName="/ppt/drawings/drawing1.xml" ContentType="application/vnd.openxmlformats-officedocument.drawingml.chartshapes+xml"/>
  <Override PartName="/ppt/charts/chart17.xml" ContentType="application/vnd.openxmlformats-officedocument.drawingml.chart+xml"/>
  <Override PartName="/ppt/charts/style13.xml" ContentType="application/vnd.ms-office.chartstyle+xml"/>
  <Override PartName="/ppt/charts/colors13.xml" ContentType="application/vnd.ms-office.chartcolorstyle+xml"/>
  <Override PartName="/ppt/notesSlides/notesSlide21.xml" ContentType="application/vnd.openxmlformats-officedocument.presentationml.notesSlide+xml"/>
  <Override PartName="/ppt/charts/chart18.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9.xml" ContentType="application/vnd.openxmlformats-officedocument.drawingml.chart+xml"/>
  <Override PartName="/ppt/charts/style15.xml" ContentType="application/vnd.ms-office.chartstyle+xml"/>
  <Override PartName="/ppt/charts/colors15.xml" ContentType="application/vnd.ms-office.chartcolorstyle+xml"/>
  <Override PartName="/ppt/notesSlides/notesSlide22.xml" ContentType="application/vnd.openxmlformats-officedocument.presentationml.notesSlide+xml"/>
  <Override PartName="/ppt/charts/chart20.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21.xml" ContentType="application/vnd.openxmlformats-officedocument.drawingml.chart+xml"/>
  <Override PartName="/ppt/charts/style17.xml" ContentType="application/vnd.ms-office.chartstyle+xml"/>
  <Override PartName="/ppt/charts/colors17.xml" ContentType="application/vnd.ms-office.chartcolorstyle+xml"/>
  <Override PartName="/ppt/notesSlides/notesSlide23.xml" ContentType="application/vnd.openxmlformats-officedocument.presentationml.notesSlide+xml"/>
  <Override PartName="/ppt/charts/chart22.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23.xml" ContentType="application/vnd.openxmlformats-officedocument.drawingml.chart+xml"/>
  <Override PartName="/ppt/charts/style19.xml" ContentType="application/vnd.ms-office.chartstyle+xml"/>
  <Override PartName="/ppt/charts/colors19.xml" ContentType="application/vnd.ms-office.chartcolorstyle+xml"/>
  <Override PartName="/ppt/notesSlides/notesSlide24.xml" ContentType="application/vnd.openxmlformats-officedocument.presentationml.notesSlide+xml"/>
  <Override PartName="/ppt/charts/chart24.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25.xml" ContentType="application/vnd.openxmlformats-officedocument.drawingml.chart+xml"/>
  <Override PartName="/ppt/charts/style21.xml" ContentType="application/vnd.ms-office.chartstyle+xml"/>
  <Override PartName="/ppt/charts/colors21.xml" ContentType="application/vnd.ms-office.chartcolorstyle+xml"/>
  <Override PartName="/ppt/notesSlides/notesSlide25.xml" ContentType="application/vnd.openxmlformats-officedocument.presentationml.notesSlide+xml"/>
  <Override PartName="/ppt/charts/chart26.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27.xml" ContentType="application/vnd.openxmlformats-officedocument.drawingml.chart+xml"/>
  <Override PartName="/ppt/charts/style23.xml" ContentType="application/vnd.ms-office.chartstyle+xml"/>
  <Override PartName="/ppt/charts/colors23.xml" ContentType="application/vnd.ms-office.chartcolorstyle+xml"/>
  <Override PartName="/ppt/notesSlides/notesSlide2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713" r:id="rId2"/>
  </p:sldMasterIdLst>
  <p:notesMasterIdLst>
    <p:notesMasterId r:id="rId44"/>
  </p:notesMasterIdLst>
  <p:sldIdLst>
    <p:sldId id="2147481380" r:id="rId3"/>
    <p:sldId id="271" r:id="rId4"/>
    <p:sldId id="272" r:id="rId5"/>
    <p:sldId id="2147481378" r:id="rId6"/>
    <p:sldId id="268" r:id="rId7"/>
    <p:sldId id="2147481327" r:id="rId8"/>
    <p:sldId id="2147481316" r:id="rId9"/>
    <p:sldId id="279" r:id="rId10"/>
    <p:sldId id="284" r:id="rId11"/>
    <p:sldId id="2147481343" r:id="rId12"/>
    <p:sldId id="2147481342" r:id="rId13"/>
    <p:sldId id="2147481344" r:id="rId14"/>
    <p:sldId id="2147481416" r:id="rId15"/>
    <p:sldId id="290" r:id="rId16"/>
    <p:sldId id="2147348183" r:id="rId17"/>
    <p:sldId id="2147348180" r:id="rId18"/>
    <p:sldId id="2147348192" r:id="rId19"/>
    <p:sldId id="2147481317" r:id="rId20"/>
    <p:sldId id="2147481295" r:id="rId21"/>
    <p:sldId id="2147348166" r:id="rId22"/>
    <p:sldId id="2147481390" r:id="rId23"/>
    <p:sldId id="2147481391" r:id="rId24"/>
    <p:sldId id="2147481395" r:id="rId25"/>
    <p:sldId id="2147348129" r:id="rId26"/>
    <p:sldId id="2147481401" r:id="rId27"/>
    <p:sldId id="2147481321" r:id="rId28"/>
    <p:sldId id="2147481402" r:id="rId29"/>
    <p:sldId id="2147481403" r:id="rId30"/>
    <p:sldId id="2147481404" r:id="rId31"/>
    <p:sldId id="2147481405" r:id="rId32"/>
    <p:sldId id="2147348165" r:id="rId33"/>
    <p:sldId id="2147348114" r:id="rId34"/>
    <p:sldId id="2076138899" r:id="rId35"/>
    <p:sldId id="2147348130" r:id="rId36"/>
    <p:sldId id="2147481411" r:id="rId37"/>
    <p:sldId id="2147481412" r:id="rId38"/>
    <p:sldId id="2147481413" r:id="rId39"/>
    <p:sldId id="2147481414" r:id="rId40"/>
    <p:sldId id="2147481415" r:id="rId41"/>
    <p:sldId id="2147481417" r:id="rId42"/>
    <p:sldId id="2147481379" r:id="rId4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844BDF4-9951-4625-9305-7AC57B26ACD7}" v="1" dt="2025-11-05T14:55:32.434"/>
  </p1510:revLst>
</p1510:revInfo>
</file>

<file path=ppt/tableStyles.xml><?xml version="1.0" encoding="utf-8"?>
<a:tblStyleLst xmlns:a="http://schemas.openxmlformats.org/drawingml/2006/main" def="{5C22544A-7EE6-4342-B048-85BDC9FD1C3A}">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980" autoAdjust="0"/>
    <p:restoredTop sz="70240" autoAdjust="0"/>
  </p:normalViewPr>
  <p:slideViewPr>
    <p:cSldViewPr snapToGrid="0">
      <p:cViewPr varScale="1">
        <p:scale>
          <a:sx n="59" d="100"/>
          <a:sy n="59" d="100"/>
        </p:scale>
        <p:origin x="1269" y="261"/>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theme" Target="theme/theme1.xml"/><Relationship Id="rId50" Type="http://schemas.microsoft.com/office/2015/10/relationships/revisionInfo" Target="revisionInfo.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microsoft.com/office/2016/11/relationships/changesInfo" Target="changesInfos/changesInfo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notesMaster" Target="notesMasters/notes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tableStyles" Target="tableStyles.xml"/><Relationship Id="rId8" Type="http://schemas.openxmlformats.org/officeDocument/2006/relationships/slide" Target="slides/slide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viewProps" Target="viewProps.xml"/><Relationship Id="rId20" Type="http://schemas.openxmlformats.org/officeDocument/2006/relationships/slide" Target="slides/slide18.xml"/><Relationship Id="rId41" Type="http://schemas.openxmlformats.org/officeDocument/2006/relationships/slide" Target="slides/slide39.xml"/><Relationship Id="rId1" Type="http://schemas.openxmlformats.org/officeDocument/2006/relationships/slideMaster" Target="slideMasters/slideMaster1.xml"/><Relationship Id="rId6"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aulo Pinho" userId="42273aacd54b1f43" providerId="LiveId" clId="{73EAB902-BD32-4EFB-8D70-77DF9C83AB45}"/>
    <pc:docChg chg="undo custSel addSld delSld modSld">
      <pc:chgData name="Paulo Pinho" userId="42273aacd54b1f43" providerId="LiveId" clId="{73EAB902-BD32-4EFB-8D70-77DF9C83AB45}" dt="2025-11-06T07:58:49.834" v="92" actId="47"/>
      <pc:docMkLst>
        <pc:docMk/>
      </pc:docMkLst>
      <pc:sldChg chg="add del">
        <pc:chgData name="Paulo Pinho" userId="42273aacd54b1f43" providerId="LiveId" clId="{73EAB902-BD32-4EFB-8D70-77DF9C83AB45}" dt="2025-11-05T14:56:59.926" v="87" actId="47"/>
        <pc:sldMkLst>
          <pc:docMk/>
          <pc:sldMk cId="1855167674" sldId="271"/>
        </pc:sldMkLst>
      </pc:sldChg>
      <pc:sldChg chg="modSp mod">
        <pc:chgData name="Paulo Pinho" userId="42273aacd54b1f43" providerId="LiveId" clId="{73EAB902-BD32-4EFB-8D70-77DF9C83AB45}" dt="2025-11-05T14:55:42.443" v="81" actId="14100"/>
        <pc:sldMkLst>
          <pc:docMk/>
          <pc:sldMk cId="1772332866" sldId="2147348114"/>
        </pc:sldMkLst>
        <pc:spChg chg="mod">
          <ac:chgData name="Paulo Pinho" userId="42273aacd54b1f43" providerId="LiveId" clId="{73EAB902-BD32-4EFB-8D70-77DF9C83AB45}" dt="2025-11-05T14:55:42.443" v="81" actId="14100"/>
          <ac:spMkLst>
            <pc:docMk/>
            <pc:sldMk cId="1772332866" sldId="2147348114"/>
            <ac:spMk id="9" creationId="{F4FA5542-D968-C26E-9D56-B1DE3D74878A}"/>
          </ac:spMkLst>
        </pc:spChg>
      </pc:sldChg>
      <pc:sldChg chg="modSp mod">
        <pc:chgData name="Paulo Pinho" userId="42273aacd54b1f43" providerId="LiveId" clId="{73EAB902-BD32-4EFB-8D70-77DF9C83AB45}" dt="2025-11-05T14:55:17.357" v="78" actId="14100"/>
        <pc:sldMkLst>
          <pc:docMk/>
          <pc:sldMk cId="2412485979" sldId="2147348130"/>
        </pc:sldMkLst>
        <pc:spChg chg="mod">
          <ac:chgData name="Paulo Pinho" userId="42273aacd54b1f43" providerId="LiveId" clId="{73EAB902-BD32-4EFB-8D70-77DF9C83AB45}" dt="2025-11-05T14:55:17.357" v="78" actId="14100"/>
          <ac:spMkLst>
            <pc:docMk/>
            <pc:sldMk cId="2412485979" sldId="2147348130"/>
            <ac:spMk id="17" creationId="{0167ED30-BF66-E4B0-8AFB-924929C4C922}"/>
          </ac:spMkLst>
        </pc:spChg>
      </pc:sldChg>
      <pc:sldChg chg="del">
        <pc:chgData name="Paulo Pinho" userId="42273aacd54b1f43" providerId="LiveId" clId="{73EAB902-BD32-4EFB-8D70-77DF9C83AB45}" dt="2025-11-05T14:55:58.915" v="84" actId="47"/>
        <pc:sldMkLst>
          <pc:docMk/>
          <pc:sldMk cId="75782340" sldId="2147348163"/>
        </pc:sldMkLst>
      </pc:sldChg>
      <pc:sldChg chg="del">
        <pc:chgData name="Paulo Pinho" userId="42273aacd54b1f43" providerId="LiveId" clId="{73EAB902-BD32-4EFB-8D70-77DF9C83AB45}" dt="2025-11-06T07:58:26.612" v="90" actId="47"/>
        <pc:sldMkLst>
          <pc:docMk/>
          <pc:sldMk cId="3974974361" sldId="2147348186"/>
        </pc:sldMkLst>
      </pc:sldChg>
      <pc:sldChg chg="del">
        <pc:chgData name="Paulo Pinho" userId="42273aacd54b1f43" providerId="LiveId" clId="{73EAB902-BD32-4EFB-8D70-77DF9C83AB45}" dt="2025-11-06T07:58:27.249" v="91" actId="47"/>
        <pc:sldMkLst>
          <pc:docMk/>
          <pc:sldMk cId="3364178472" sldId="2147481318"/>
        </pc:sldMkLst>
      </pc:sldChg>
      <pc:sldChg chg="del">
        <pc:chgData name="Paulo Pinho" userId="42273aacd54b1f43" providerId="LiveId" clId="{73EAB902-BD32-4EFB-8D70-77DF9C83AB45}" dt="2025-11-05T14:49:38.765" v="0" actId="47"/>
        <pc:sldMkLst>
          <pc:docMk/>
          <pc:sldMk cId="1362149057" sldId="2147481326"/>
        </pc:sldMkLst>
      </pc:sldChg>
      <pc:sldChg chg="del">
        <pc:chgData name="Paulo Pinho" userId="42273aacd54b1f43" providerId="LiveId" clId="{73EAB902-BD32-4EFB-8D70-77DF9C83AB45}" dt="2025-11-05T14:53:13.019" v="1" actId="47"/>
        <pc:sldMkLst>
          <pc:docMk/>
          <pc:sldMk cId="1239306552" sldId="2147481387"/>
        </pc:sldMkLst>
      </pc:sldChg>
      <pc:sldChg chg="del">
        <pc:chgData name="Paulo Pinho" userId="42273aacd54b1f43" providerId="LiveId" clId="{73EAB902-BD32-4EFB-8D70-77DF9C83AB45}" dt="2025-11-05T14:53:13.019" v="1" actId="47"/>
        <pc:sldMkLst>
          <pc:docMk/>
          <pc:sldMk cId="193303109" sldId="2147481388"/>
        </pc:sldMkLst>
      </pc:sldChg>
      <pc:sldChg chg="del">
        <pc:chgData name="Paulo Pinho" userId="42273aacd54b1f43" providerId="LiveId" clId="{73EAB902-BD32-4EFB-8D70-77DF9C83AB45}" dt="2025-11-05T14:53:13.019" v="1" actId="47"/>
        <pc:sldMkLst>
          <pc:docMk/>
          <pc:sldMk cId="219144218" sldId="2147481389"/>
        </pc:sldMkLst>
      </pc:sldChg>
      <pc:sldChg chg="del">
        <pc:chgData name="Paulo Pinho" userId="42273aacd54b1f43" providerId="LiveId" clId="{73EAB902-BD32-4EFB-8D70-77DF9C83AB45}" dt="2025-11-06T07:58:49.834" v="92" actId="47"/>
        <pc:sldMkLst>
          <pc:docMk/>
          <pc:sldMk cId="532343863" sldId="2147481392"/>
        </pc:sldMkLst>
      </pc:sldChg>
      <pc:sldChg chg="del">
        <pc:chgData name="Paulo Pinho" userId="42273aacd54b1f43" providerId="LiveId" clId="{73EAB902-BD32-4EFB-8D70-77DF9C83AB45}" dt="2025-11-06T07:52:03.637" v="88" actId="47"/>
        <pc:sldMkLst>
          <pc:docMk/>
          <pc:sldMk cId="3329332681" sldId="2147481393"/>
        </pc:sldMkLst>
      </pc:sldChg>
      <pc:sldChg chg="del">
        <pc:chgData name="Paulo Pinho" userId="42273aacd54b1f43" providerId="LiveId" clId="{73EAB902-BD32-4EFB-8D70-77DF9C83AB45}" dt="2025-11-06T07:52:04.668" v="89" actId="47"/>
        <pc:sldMkLst>
          <pc:docMk/>
          <pc:sldMk cId="2775555376" sldId="2147481394"/>
        </pc:sldMkLst>
      </pc:sldChg>
      <pc:sldChg chg="del">
        <pc:chgData name="Paulo Pinho" userId="42273aacd54b1f43" providerId="LiveId" clId="{73EAB902-BD32-4EFB-8D70-77DF9C83AB45}" dt="2025-11-05T14:55:46.654" v="82" actId="47"/>
        <pc:sldMkLst>
          <pc:docMk/>
          <pc:sldMk cId="1426167311" sldId="2147481408"/>
        </pc:sldMkLst>
      </pc:sldChg>
      <pc:sldChg chg="del">
        <pc:chgData name="Paulo Pinho" userId="42273aacd54b1f43" providerId="LiveId" clId="{73EAB902-BD32-4EFB-8D70-77DF9C83AB45}" dt="2025-11-05T14:55:47.392" v="83" actId="47"/>
        <pc:sldMkLst>
          <pc:docMk/>
          <pc:sldMk cId="1666380274" sldId="2147481409"/>
        </pc:sldMkLst>
      </pc:sldChg>
      <pc:sldChg chg="del">
        <pc:chgData name="Paulo Pinho" userId="42273aacd54b1f43" providerId="LiveId" clId="{73EAB902-BD32-4EFB-8D70-77DF9C83AB45}" dt="2025-11-05T14:56:00.463" v="85" actId="47"/>
        <pc:sldMkLst>
          <pc:docMk/>
          <pc:sldMk cId="2486499354" sldId="2147481410"/>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5.xml.rels><?xml version="1.0" encoding="UTF-8" standalone="yes"?>
<Relationships xmlns="http://schemas.openxmlformats.org/package/2006/relationships"><Relationship Id="rId3" Type="http://schemas.openxmlformats.org/officeDocument/2006/relationships/oleObject" Target="file:///\\Users\owaisaftab\Documents\Research\Paulo%20Insurance\9.28%20Owais%20Update%2040k%20records.xlsb" TargetMode="External"/><Relationship Id="rId2" Type="http://schemas.microsoft.com/office/2011/relationships/chartColorStyle" Target="colors11.xml"/><Relationship Id="rId1" Type="http://schemas.microsoft.com/office/2011/relationships/chartStyle" Target="style11.xml"/></Relationships>
</file>

<file path=ppt/charts/_rels/chart16.xml.rels><?xml version="1.0" encoding="UTF-8" standalone="yes"?>
<Relationships xmlns="http://schemas.openxmlformats.org/package/2006/relationships"><Relationship Id="rId3" Type="http://schemas.openxmlformats.org/officeDocument/2006/relationships/oleObject" Target="file:///\\Users\owaisaftab\Documents\Research\Paulo%20Insurance\9.28%20Owais%20Update%2040k%20records.xlsb" TargetMode="External"/><Relationship Id="rId2" Type="http://schemas.microsoft.com/office/2011/relationships/chartColorStyle" Target="colors12.xml"/><Relationship Id="rId1" Type="http://schemas.microsoft.com/office/2011/relationships/chartStyle" Target="style12.xml"/><Relationship Id="rId4" Type="http://schemas.openxmlformats.org/officeDocument/2006/relationships/chartUserShapes" Target="../drawings/drawing1.xml"/></Relationships>
</file>

<file path=ppt/charts/_rels/chart17.xml.rels><?xml version="1.0" encoding="UTF-8" standalone="yes"?>
<Relationships xmlns="http://schemas.openxmlformats.org/package/2006/relationships"><Relationship Id="rId3" Type="http://schemas.openxmlformats.org/officeDocument/2006/relationships/oleObject" Target="file:///\\Users\owaisaftab\Documents\Research\Paulo%20Insurance\9.28%20Owais%20Update%2040k%20records.xlsb" TargetMode="External"/><Relationship Id="rId2" Type="http://schemas.microsoft.com/office/2011/relationships/chartColorStyle" Target="colors13.xml"/><Relationship Id="rId1" Type="http://schemas.microsoft.com/office/2011/relationships/chartStyle" Target="style13.xml"/></Relationships>
</file>

<file path=ppt/charts/_rels/chart18.xml.rels><?xml version="1.0" encoding="UTF-8" standalone="yes"?>
<Relationships xmlns="http://schemas.openxmlformats.org/package/2006/relationships"><Relationship Id="rId3" Type="http://schemas.openxmlformats.org/officeDocument/2006/relationships/oleObject" Target="file:///\\Users\owaisaftab\Documents\Research\Paulo%20Insurance\9.15%20Owais%20Update%2040k%20records.xlsb" TargetMode="External"/><Relationship Id="rId2" Type="http://schemas.microsoft.com/office/2011/relationships/chartColorStyle" Target="colors14.xml"/><Relationship Id="rId1" Type="http://schemas.microsoft.com/office/2011/relationships/chartStyle" Target="style14.xml"/></Relationships>
</file>

<file path=ppt/charts/_rels/chart19.xml.rels><?xml version="1.0" encoding="UTF-8" standalone="yes"?>
<Relationships xmlns="http://schemas.openxmlformats.org/package/2006/relationships"><Relationship Id="rId3" Type="http://schemas.openxmlformats.org/officeDocument/2006/relationships/oleObject" Target="file:///\\Users\owaisaftab\Documents\Research\Paulo%20Insurance\9.15%20Owais%20Update%2040k%20records.xlsb" TargetMode="External"/><Relationship Id="rId2" Type="http://schemas.microsoft.com/office/2011/relationships/chartColorStyle" Target="colors15.xml"/><Relationship Id="rId1" Type="http://schemas.microsoft.com/office/2011/relationships/chartStyle" Target="style15.xml"/></Relationships>
</file>

<file path=ppt/charts/_rels/chart2.xml.rels><?xml version="1.0" encoding="UTF-8" standalone="yes"?>
<Relationships xmlns="http://schemas.openxmlformats.org/package/2006/relationships"><Relationship Id="rId1" Type="http://schemas.openxmlformats.org/officeDocument/2006/relationships/oleObject" Target="file:///\\Users\owaisaftab\Documents\Research\Paulo%20Insurance\800%20records%20both%20schema%20+%20complete%20+%20syntax.xls" TargetMode="External"/></Relationships>
</file>

<file path=ppt/charts/_rels/chart20.xml.rels><?xml version="1.0" encoding="UTF-8" standalone="yes"?>
<Relationships xmlns="http://schemas.openxmlformats.org/package/2006/relationships"><Relationship Id="rId3" Type="http://schemas.openxmlformats.org/officeDocument/2006/relationships/oleObject" Target="file:///\\Users\owaisaftab\Documents\Research\Paulo%20Insurance\9.15%20Owais%20Update%2040k%20records.xlsb" TargetMode="External"/><Relationship Id="rId2" Type="http://schemas.microsoft.com/office/2011/relationships/chartColorStyle" Target="colors16.xml"/><Relationship Id="rId1" Type="http://schemas.microsoft.com/office/2011/relationships/chartStyle" Target="style16.xml"/></Relationships>
</file>

<file path=ppt/charts/_rels/chart21.xml.rels><?xml version="1.0" encoding="UTF-8" standalone="yes"?>
<Relationships xmlns="http://schemas.openxmlformats.org/package/2006/relationships"><Relationship Id="rId3" Type="http://schemas.openxmlformats.org/officeDocument/2006/relationships/oleObject" Target="file:///\\Users\owaisaftab\Documents\Research\Paulo%20Insurance\9.15%20Owais%20Update%2040k%20records.xlsb" TargetMode="External"/><Relationship Id="rId2" Type="http://schemas.microsoft.com/office/2011/relationships/chartColorStyle" Target="colors17.xml"/><Relationship Id="rId1" Type="http://schemas.microsoft.com/office/2011/relationships/chartStyle" Target="style17.xml"/></Relationships>
</file>

<file path=ppt/charts/_rels/chart22.xml.rels><?xml version="1.0" encoding="UTF-8" standalone="yes"?>
<Relationships xmlns="http://schemas.openxmlformats.org/package/2006/relationships"><Relationship Id="rId3" Type="http://schemas.openxmlformats.org/officeDocument/2006/relationships/oleObject" Target="file:///\\Users\owaisaftab\Documents\Research\Paulo%20Insurance\9.15%20Owais%20Update%2040k%20records.xlsb" TargetMode="External"/><Relationship Id="rId2" Type="http://schemas.microsoft.com/office/2011/relationships/chartColorStyle" Target="colors18.xml"/><Relationship Id="rId1" Type="http://schemas.microsoft.com/office/2011/relationships/chartStyle" Target="style18.xml"/></Relationships>
</file>

<file path=ppt/charts/_rels/chart23.xml.rels><?xml version="1.0" encoding="UTF-8" standalone="yes"?>
<Relationships xmlns="http://schemas.openxmlformats.org/package/2006/relationships"><Relationship Id="rId3" Type="http://schemas.openxmlformats.org/officeDocument/2006/relationships/oleObject" Target="file:///\\Users\owaisaftab\Documents\Research\Paulo%20Insurance\9.15%20Owais%20Update%2040k%20records.xlsb" TargetMode="External"/><Relationship Id="rId2" Type="http://schemas.microsoft.com/office/2011/relationships/chartColorStyle" Target="colors19.xml"/><Relationship Id="rId1" Type="http://schemas.microsoft.com/office/2011/relationships/chartStyle" Target="style19.xml"/></Relationships>
</file>

<file path=ppt/charts/_rels/chart24.xml.rels><?xml version="1.0" encoding="UTF-8" standalone="yes"?>
<Relationships xmlns="http://schemas.openxmlformats.org/package/2006/relationships"><Relationship Id="rId3" Type="http://schemas.openxmlformats.org/officeDocument/2006/relationships/oleObject" Target="file:///\\Users\owaisaftab\Documents\Research\Paulo%20Insurance\9.15%20Owais%20Update%2040k%20records.xlsb" TargetMode="External"/><Relationship Id="rId2" Type="http://schemas.microsoft.com/office/2011/relationships/chartColorStyle" Target="colors20.xml"/><Relationship Id="rId1" Type="http://schemas.microsoft.com/office/2011/relationships/chartStyle" Target="style20.xml"/></Relationships>
</file>

<file path=ppt/charts/_rels/chart25.xml.rels><?xml version="1.0" encoding="UTF-8" standalone="yes"?>
<Relationships xmlns="http://schemas.openxmlformats.org/package/2006/relationships"><Relationship Id="rId3" Type="http://schemas.openxmlformats.org/officeDocument/2006/relationships/oleObject" Target="file:///\\Users\owaisaftab\Documents\Research\Paulo%20Insurance\9.15%20Owais%20Update%2040k%20records.xlsb" TargetMode="External"/><Relationship Id="rId2" Type="http://schemas.microsoft.com/office/2011/relationships/chartColorStyle" Target="colors21.xml"/><Relationship Id="rId1" Type="http://schemas.microsoft.com/office/2011/relationships/chartStyle" Target="style21.xml"/></Relationships>
</file>

<file path=ppt/charts/_rels/chart26.xml.rels><?xml version="1.0" encoding="UTF-8" standalone="yes"?>
<Relationships xmlns="http://schemas.openxmlformats.org/package/2006/relationships"><Relationship Id="rId3" Type="http://schemas.openxmlformats.org/officeDocument/2006/relationships/oleObject" Target="file:///\\Users\owaisaftab\Documents\Research\Paulo%20Insurance\9.15%20Owais%20Update%2040k%20records.xlsb" TargetMode="External"/><Relationship Id="rId2" Type="http://schemas.microsoft.com/office/2011/relationships/chartColorStyle" Target="colors22.xml"/><Relationship Id="rId1" Type="http://schemas.microsoft.com/office/2011/relationships/chartStyle" Target="style22.xml"/></Relationships>
</file>

<file path=ppt/charts/_rels/chart27.xml.rels><?xml version="1.0" encoding="UTF-8" standalone="yes"?>
<Relationships xmlns="http://schemas.openxmlformats.org/package/2006/relationships"><Relationship Id="rId3" Type="http://schemas.openxmlformats.org/officeDocument/2006/relationships/oleObject" Target="file:///\\Users\owaisaftab\Documents\Research\Paulo%20Insurance\9.15%20Owais%20Update%2040k%20records.xlsb" TargetMode="External"/><Relationship Id="rId2" Type="http://schemas.microsoft.com/office/2011/relationships/chartColorStyle" Target="colors23.xml"/><Relationship Id="rId1" Type="http://schemas.microsoft.com/office/2011/relationships/chartStyle" Target="style23.xml"/></Relationships>
</file>

<file path=ppt/charts/_rels/chart3.xml.rels><?xml version="1.0" encoding="UTF-8" standalone="yes"?>
<Relationships xmlns="http://schemas.openxmlformats.org/package/2006/relationships"><Relationship Id="rId1" Type="http://schemas.openxmlformats.org/officeDocument/2006/relationships/oleObject" Target="file:///\\Users\owaisaftab\Documents\Research\Paulo%20Insurance\800%20records%20both%20schema%20+%20complete%20+%20syntax.xls" TargetMode="External"/></Relationships>
</file>

<file path=ppt/charts/_rels/chart4.xml.rels><?xml version="1.0" encoding="UTF-8" standalone="yes"?>
<Relationships xmlns="http://schemas.openxmlformats.org/package/2006/relationships"><Relationship Id="rId1" Type="http://schemas.openxmlformats.org/officeDocument/2006/relationships/oleObject" Target="file:///\\Users\owaisaftab\Documents\Research\Paulo%20Insurance\800%20records%20both%20schema%20+%20complete%20+%20syntax.xls" TargetMode="External"/></Relationships>
</file>

<file path=ppt/charts/_rels/chart5.xml.rels><?xml version="1.0" encoding="UTF-8" standalone="yes"?>
<Relationships xmlns="http://schemas.openxmlformats.org/package/2006/relationships"><Relationship Id="rId1" Type="http://schemas.openxmlformats.org/officeDocument/2006/relationships/oleObject" Target="file:///\\Users\owaisaftab\Documents\Research\Paulo%20Insurance\800%20records%20both%20schema%20+%20complete%20+%20syntax.xls" TargetMode="Externa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spc="100" baseline="0">
                <a:solidFill>
                  <a:schemeClr val="lt1">
                    <a:lumMod val="95000"/>
                  </a:schemeClr>
                </a:solidFill>
                <a:effectLst>
                  <a:outerShdw blurRad="50800" dist="38100" dir="5400000" algn="t" rotWithShape="0">
                    <a:prstClr val="black">
                      <a:alpha val="40000"/>
                    </a:prstClr>
                  </a:outerShdw>
                </a:effectLst>
                <a:latin typeface="+mj-lt"/>
                <a:ea typeface="+mn-ea"/>
                <a:cs typeface="+mn-cs"/>
              </a:defRPr>
            </a:pPr>
            <a:r>
              <a:rPr lang="en-US"/>
              <a:t>Health Status vs. Time In Two Communities in Newark, NJ attributed to capturing and addressing SDOH</a:t>
            </a:r>
          </a:p>
        </c:rich>
      </c:tx>
      <c:overlay val="0"/>
      <c:spPr>
        <a:noFill/>
        <a:ln>
          <a:noFill/>
        </a:ln>
        <a:effectLst/>
      </c:spPr>
      <c:txPr>
        <a:bodyPr rot="0" spcFirstLastPara="1" vertOverflow="ellipsis" vert="horz" wrap="square" anchor="ctr" anchorCtr="1"/>
        <a:lstStyle/>
        <a:p>
          <a:pPr>
            <a:defRPr sz="2128" b="1" i="0" u="none" strike="noStrike" kern="1200" spc="100" baseline="0">
              <a:solidFill>
                <a:schemeClr val="lt1">
                  <a:lumMod val="95000"/>
                </a:schemeClr>
              </a:solidFill>
              <a:effectLst>
                <a:outerShdw blurRad="50800" dist="38100" dir="5400000" algn="t" rotWithShape="0">
                  <a:prstClr val="black">
                    <a:alpha val="40000"/>
                  </a:prstClr>
                </a:outerShdw>
              </a:effectLst>
              <a:latin typeface="+mj-lt"/>
              <a:ea typeface="+mn-ea"/>
              <a:cs typeface="+mn-cs"/>
            </a:defRPr>
          </a:pPr>
          <a:endParaRPr lang="en-US"/>
        </a:p>
      </c:txPr>
    </c:title>
    <c:autoTitleDeleted val="0"/>
    <c:plotArea>
      <c:layout/>
      <c:lineChart>
        <c:grouping val="standard"/>
        <c:varyColors val="0"/>
        <c:ser>
          <c:idx val="0"/>
          <c:order val="0"/>
          <c:tx>
            <c:strRef>
              <c:f>Sheet1!$B$1</c:f>
              <c:strCache>
                <c:ptCount val="1"/>
                <c:pt idx="0">
                  <c:v>07105</c:v>
                </c:pt>
              </c:strCache>
            </c:strRef>
          </c:tx>
          <c:spPr>
            <a:ln w="34925" cap="rnd">
              <a:solidFill>
                <a:schemeClr val="accent1"/>
              </a:solidFill>
              <a:round/>
            </a:ln>
            <a:effectLst>
              <a:outerShdw blurRad="40000" dist="23000" dir="5400000" rotWithShape="0">
                <a:srgbClr val="000000">
                  <a:alpha val="35000"/>
                </a:srgbClr>
              </a:outerShdw>
            </a:effectLst>
          </c:spPr>
          <c:marker>
            <c:symbol val="none"/>
          </c:marker>
          <c:cat>
            <c:strRef>
              <c:f>Sheet1!$A$2:$A$5</c:f>
              <c:strCache>
                <c:ptCount val="4"/>
                <c:pt idx="0">
                  <c:v>Time 0</c:v>
                </c:pt>
                <c:pt idx="1">
                  <c:v>Time 1</c:v>
                </c:pt>
                <c:pt idx="2">
                  <c:v>Time 2</c:v>
                </c:pt>
                <c:pt idx="3">
                  <c:v>Time 4</c:v>
                </c:pt>
              </c:strCache>
            </c:strRef>
          </c:cat>
          <c:val>
            <c:numRef>
              <c:f>Sheet1!$B$2:$B$5</c:f>
              <c:numCache>
                <c:formatCode>General</c:formatCode>
                <c:ptCount val="4"/>
                <c:pt idx="0">
                  <c:v>30</c:v>
                </c:pt>
                <c:pt idx="1">
                  <c:v>40</c:v>
                </c:pt>
                <c:pt idx="2">
                  <c:v>70</c:v>
                </c:pt>
                <c:pt idx="3">
                  <c:v>80</c:v>
                </c:pt>
              </c:numCache>
            </c:numRef>
          </c:val>
          <c:smooth val="0"/>
          <c:extLst>
            <c:ext xmlns:c16="http://schemas.microsoft.com/office/drawing/2014/chart" uri="{C3380CC4-5D6E-409C-BE32-E72D297353CC}">
              <c16:uniqueId val="{00000000-F64E-49EE-8A11-3632DC3A60D0}"/>
            </c:ext>
          </c:extLst>
        </c:ser>
        <c:ser>
          <c:idx val="1"/>
          <c:order val="1"/>
          <c:tx>
            <c:strRef>
              <c:f>Sheet1!$C$1</c:f>
              <c:strCache>
                <c:ptCount val="1"/>
                <c:pt idx="0">
                  <c:v>07103</c:v>
                </c:pt>
              </c:strCache>
            </c:strRef>
          </c:tx>
          <c:spPr>
            <a:ln w="34925" cap="rnd">
              <a:solidFill>
                <a:schemeClr val="accent2"/>
              </a:solidFill>
              <a:round/>
            </a:ln>
            <a:effectLst>
              <a:outerShdw blurRad="40000" dist="23000" dir="5400000" rotWithShape="0">
                <a:srgbClr val="000000">
                  <a:alpha val="35000"/>
                </a:srgbClr>
              </a:outerShdw>
            </a:effectLst>
          </c:spPr>
          <c:marker>
            <c:symbol val="none"/>
          </c:marker>
          <c:cat>
            <c:strRef>
              <c:f>Sheet1!$A$2:$A$5</c:f>
              <c:strCache>
                <c:ptCount val="4"/>
                <c:pt idx="0">
                  <c:v>Time 0</c:v>
                </c:pt>
                <c:pt idx="1">
                  <c:v>Time 1</c:v>
                </c:pt>
                <c:pt idx="2">
                  <c:v>Time 2</c:v>
                </c:pt>
                <c:pt idx="3">
                  <c:v>Time 4</c:v>
                </c:pt>
              </c:strCache>
            </c:strRef>
          </c:cat>
          <c:val>
            <c:numRef>
              <c:f>Sheet1!$C$2:$C$5</c:f>
              <c:numCache>
                <c:formatCode>General</c:formatCode>
                <c:ptCount val="4"/>
                <c:pt idx="0">
                  <c:v>30</c:v>
                </c:pt>
                <c:pt idx="1">
                  <c:v>30</c:v>
                </c:pt>
                <c:pt idx="2">
                  <c:v>25</c:v>
                </c:pt>
                <c:pt idx="3">
                  <c:v>20</c:v>
                </c:pt>
              </c:numCache>
            </c:numRef>
          </c:val>
          <c:smooth val="0"/>
          <c:extLst>
            <c:ext xmlns:c16="http://schemas.microsoft.com/office/drawing/2014/chart" uri="{C3380CC4-5D6E-409C-BE32-E72D297353CC}">
              <c16:uniqueId val="{00000001-F64E-49EE-8A11-3632DC3A60D0}"/>
            </c:ext>
          </c:extLst>
        </c:ser>
        <c:dLbls>
          <c:showLegendKey val="0"/>
          <c:showVal val="0"/>
          <c:showCatName val="0"/>
          <c:showSerName val="0"/>
          <c:showPercent val="0"/>
          <c:showBubbleSize val="0"/>
        </c:dLbls>
        <c:smooth val="0"/>
        <c:axId val="1658259983"/>
        <c:axId val="1658279119"/>
      </c:lineChart>
      <c:catAx>
        <c:axId val="1658259983"/>
        <c:scaling>
          <c:orientation val="minMax"/>
        </c:scaling>
        <c:delete val="0"/>
        <c:axPos val="b"/>
        <c:title>
          <c:tx>
            <c:rich>
              <a:bodyPr rot="0" spcFirstLastPara="1" vertOverflow="ellipsis" vert="horz" wrap="square" anchor="ctr" anchorCtr="1"/>
              <a:lstStyle/>
              <a:p>
                <a:pPr>
                  <a:defRPr sz="1197" b="1" i="0" u="none" strike="noStrike" kern="1200" cap="all" baseline="0">
                    <a:solidFill>
                      <a:schemeClr val="lt1">
                        <a:lumMod val="85000"/>
                      </a:schemeClr>
                    </a:solidFill>
                    <a:latin typeface="+mj-lt"/>
                    <a:ea typeface="+mn-ea"/>
                    <a:cs typeface="+mn-cs"/>
                  </a:defRPr>
                </a:pPr>
                <a:r>
                  <a:rPr lang="en-US" dirty="0"/>
                  <a:t>Time</a:t>
                </a:r>
              </a:p>
            </c:rich>
          </c:tx>
          <c:overlay val="0"/>
          <c:spPr>
            <a:noFill/>
            <a:ln>
              <a:noFill/>
            </a:ln>
            <a:effectLst/>
          </c:spPr>
          <c:txPr>
            <a:bodyPr rot="0" spcFirstLastPara="1" vertOverflow="ellipsis" vert="horz" wrap="square" anchor="ctr" anchorCtr="1"/>
            <a:lstStyle/>
            <a:p>
              <a:pPr>
                <a:defRPr sz="1197" b="1" i="0" u="none" strike="noStrike" kern="1200" cap="all" baseline="0">
                  <a:solidFill>
                    <a:schemeClr val="lt1">
                      <a:lumMod val="85000"/>
                    </a:schemeClr>
                  </a:solidFill>
                  <a:latin typeface="+mj-lt"/>
                  <a:ea typeface="+mn-ea"/>
                  <a:cs typeface="+mn-cs"/>
                </a:defRPr>
              </a:pPr>
              <a:endParaRPr lang="en-US"/>
            </a:p>
          </c:txPr>
        </c:title>
        <c:numFmt formatCode="General" sourceLinked="1"/>
        <c:majorTickMark val="none"/>
        <c:minorTickMark val="none"/>
        <c:tickLblPos val="nextTo"/>
        <c:spPr>
          <a:noFill/>
          <a:ln w="9525" cap="flat" cmpd="sng" algn="ctr">
            <a:solidFill>
              <a:schemeClr val="lt1">
                <a:lumMod val="95000"/>
                <a:alpha val="10000"/>
              </a:schemeClr>
            </a:solidFill>
            <a:round/>
          </a:ln>
          <a:effectLst/>
        </c:spPr>
        <c:txPr>
          <a:bodyPr rot="-60000000" spcFirstLastPara="1" vertOverflow="ellipsis" vert="horz" wrap="square" anchor="ctr" anchorCtr="1"/>
          <a:lstStyle/>
          <a:p>
            <a:pPr>
              <a:defRPr sz="1197" b="0" i="0" u="none" strike="noStrike" kern="1200" baseline="0">
                <a:solidFill>
                  <a:schemeClr val="lt1">
                    <a:lumMod val="85000"/>
                  </a:schemeClr>
                </a:solidFill>
                <a:latin typeface="+mj-lt"/>
                <a:ea typeface="+mn-ea"/>
                <a:cs typeface="+mn-cs"/>
              </a:defRPr>
            </a:pPr>
            <a:endParaRPr lang="en-US"/>
          </a:p>
        </c:txPr>
        <c:crossAx val="1658279119"/>
        <c:crosses val="autoZero"/>
        <c:auto val="1"/>
        <c:lblAlgn val="ctr"/>
        <c:lblOffset val="100"/>
        <c:noMultiLvlLbl val="0"/>
      </c:catAx>
      <c:valAx>
        <c:axId val="1658279119"/>
        <c:scaling>
          <c:orientation val="minMax"/>
        </c:scaling>
        <c:delete val="0"/>
        <c:axPos val="l"/>
        <c:majorGridlines>
          <c:spPr>
            <a:ln w="9525" cap="flat" cmpd="sng" algn="ctr">
              <a:solidFill>
                <a:schemeClr val="lt1">
                  <a:lumMod val="95000"/>
                  <a:alpha val="10000"/>
                </a:schemeClr>
              </a:solidFill>
              <a:round/>
            </a:ln>
            <a:effectLst/>
          </c:spPr>
        </c:majorGridlines>
        <c:title>
          <c:tx>
            <c:rich>
              <a:bodyPr rot="-5400000" spcFirstLastPara="1" vertOverflow="ellipsis" vert="horz" wrap="square" anchor="ctr" anchorCtr="1"/>
              <a:lstStyle/>
              <a:p>
                <a:pPr>
                  <a:defRPr sz="1197" b="1" i="0" u="none" strike="noStrike" kern="1200" cap="all" baseline="0">
                    <a:solidFill>
                      <a:schemeClr val="lt1">
                        <a:lumMod val="85000"/>
                      </a:schemeClr>
                    </a:solidFill>
                    <a:latin typeface="+mj-lt"/>
                    <a:ea typeface="+mn-ea"/>
                    <a:cs typeface="+mn-cs"/>
                  </a:defRPr>
                </a:pPr>
                <a:r>
                  <a:rPr lang="en-US"/>
                  <a:t>Health Status</a:t>
                </a:r>
              </a:p>
            </c:rich>
          </c:tx>
          <c:overlay val="0"/>
          <c:spPr>
            <a:noFill/>
            <a:ln>
              <a:noFill/>
            </a:ln>
            <a:effectLst/>
          </c:spPr>
          <c:txPr>
            <a:bodyPr rot="-5400000" spcFirstLastPara="1" vertOverflow="ellipsis" vert="horz" wrap="square" anchor="ctr" anchorCtr="1"/>
            <a:lstStyle/>
            <a:p>
              <a:pPr>
                <a:defRPr sz="1197" b="1" i="0" u="none" strike="noStrike" kern="1200" cap="all" baseline="0">
                  <a:solidFill>
                    <a:schemeClr val="lt1">
                      <a:lumMod val="85000"/>
                    </a:schemeClr>
                  </a:solidFill>
                  <a:latin typeface="+mj-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lt1">
                    <a:lumMod val="85000"/>
                  </a:schemeClr>
                </a:solidFill>
                <a:latin typeface="+mj-lt"/>
                <a:ea typeface="+mn-ea"/>
                <a:cs typeface="+mn-cs"/>
              </a:defRPr>
            </a:pPr>
            <a:endParaRPr lang="en-US"/>
          </a:p>
        </c:txPr>
        <c:crossAx val="1658259983"/>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lt1">
                  <a:lumMod val="85000"/>
                </a:schemeClr>
              </a:solidFill>
              <a:latin typeface="+mj-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latin typeface="+mj-lt"/>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1" i="0" u="none" strike="noStrike" kern="1200" baseline="0">
                <a:solidFill>
                  <a:schemeClr val="dk1">
                    <a:lumMod val="75000"/>
                    <a:lumOff val="25000"/>
                  </a:schemeClr>
                </a:solidFill>
                <a:latin typeface="+mn-lt"/>
                <a:ea typeface="+mn-ea"/>
                <a:cs typeface="+mn-cs"/>
              </a:defRPr>
            </a:pPr>
            <a:r>
              <a:rPr lang="en-US"/>
              <a:t>Demographic Counts by Language</a:t>
            </a:r>
          </a:p>
        </c:rich>
      </c:tx>
      <c:overlay val="0"/>
      <c:spPr>
        <a:noFill/>
        <a:ln>
          <a:noFill/>
        </a:ln>
        <a:effectLst/>
      </c:spPr>
      <c:txPr>
        <a:bodyPr rot="0" spcFirstLastPara="1" vertOverflow="ellipsis" vert="horz" wrap="square" anchor="ctr" anchorCtr="1"/>
        <a:lstStyle/>
        <a:p>
          <a:pPr>
            <a:defRPr sz="1800" b="1" i="0" u="none" strike="noStrike" kern="1200" baseline="0">
              <a:solidFill>
                <a:schemeClr val="dk1">
                  <a:lumMod val="75000"/>
                  <a:lumOff val="25000"/>
                </a:schemeClr>
              </a:solidFill>
              <a:latin typeface="+mn-lt"/>
              <a:ea typeface="+mn-ea"/>
              <a:cs typeface="+mn-cs"/>
            </a:defRPr>
          </a:pPr>
          <a:endParaRPr lang="en-US"/>
        </a:p>
      </c:txPr>
    </c:title>
    <c:autoTitleDeleted val="0"/>
    <c:plotArea>
      <c:layout/>
      <c:pieChart>
        <c:varyColors val="1"/>
        <c:ser>
          <c:idx val="2"/>
          <c:order val="2"/>
          <c:dPt>
            <c:idx val="0"/>
            <c:bubble3D val="0"/>
            <c:spPr>
              <a:solidFill>
                <a:schemeClr val="accent1"/>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1-787B-451A-B756-75FE354A3767}"/>
              </c:ext>
            </c:extLst>
          </c:dPt>
          <c:dPt>
            <c:idx val="1"/>
            <c:bubble3D val="0"/>
            <c:spPr>
              <a:solidFill>
                <a:schemeClr val="accent2"/>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3-787B-451A-B756-75FE354A3767}"/>
              </c:ext>
            </c:extLst>
          </c:dPt>
          <c:dPt>
            <c:idx val="2"/>
            <c:bubble3D val="0"/>
            <c:spPr>
              <a:solidFill>
                <a:schemeClr val="accent3"/>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5-787B-451A-B756-75FE354A3767}"/>
              </c:ext>
            </c:extLst>
          </c:dPt>
          <c:dLbls>
            <c:dLbl>
              <c:idx val="2"/>
              <c:layout>
                <c:manualLayout>
                  <c:x val="7.0561616314282011E-2"/>
                  <c:y val="9.9782203883415452E-2"/>
                </c:manualLayout>
              </c:layout>
              <c:dLblPos val="bestFi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5-787B-451A-B756-75FE354A3767}"/>
                </c:ext>
              </c:extLst>
            </c:dLbl>
            <c:spPr>
              <a:pattFill prst="pct75">
                <a:fgClr>
                  <a:schemeClr val="dk1">
                    <a:lumMod val="75000"/>
                    <a:lumOff val="25000"/>
                  </a:schemeClr>
                </a:fgClr>
                <a:bgClr>
                  <a:schemeClr val="dk1">
                    <a:lumMod val="65000"/>
                    <a:lumOff val="35000"/>
                  </a:schemeClr>
                </a:bgClr>
              </a:patt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lt1"/>
                    </a:solidFill>
                    <a:latin typeface="+mn-lt"/>
                    <a:ea typeface="+mn-ea"/>
                    <a:cs typeface="+mn-cs"/>
                  </a:defRPr>
                </a:pPr>
                <a:endParaRPr lang="en-US"/>
              </a:p>
            </c:txPr>
            <c:dLblPos val="ctr"/>
            <c:showLegendKey val="0"/>
            <c:showVal val="0"/>
            <c:showCatName val="0"/>
            <c:showSerName val="0"/>
            <c:showPercent val="1"/>
            <c:showBubbleSize val="0"/>
            <c:showLeaderLines val="1"/>
            <c:leaderLines>
              <c:spPr>
                <a:ln w="9525">
                  <a:solidFill>
                    <a:schemeClr val="dk1">
                      <a:lumMod val="50000"/>
                      <a:lumOff val="50000"/>
                    </a:schemeClr>
                  </a:solidFill>
                </a:ln>
                <a:effectLst/>
              </c:spPr>
            </c:leaderLines>
            <c:extLst>
              <c:ext xmlns:c15="http://schemas.microsoft.com/office/drawing/2012/chart" uri="{CE6537A1-D6FC-4f65-9D91-7224C49458BB}"/>
            </c:extLst>
          </c:dLbls>
          <c:cat>
            <c:strRef>
              <c:f>Sheet2!$A$3:$A$5</c:f>
              <c:strCache>
                <c:ptCount val="3"/>
                <c:pt idx="0">
                  <c:v>English</c:v>
                </c:pt>
                <c:pt idx="1">
                  <c:v>Spanish</c:v>
                </c:pt>
                <c:pt idx="2">
                  <c:v>Other</c:v>
                </c:pt>
              </c:strCache>
            </c:strRef>
          </c:cat>
          <c:val>
            <c:numRef>
              <c:f>Sheet2!$D$3:$D$5</c:f>
              <c:numCache>
                <c:formatCode>0.0%</c:formatCode>
                <c:ptCount val="3"/>
                <c:pt idx="0">
                  <c:v>0.85448039361860739</c:v>
                </c:pt>
                <c:pt idx="1">
                  <c:v>3.0415983301028775E-2</c:v>
                </c:pt>
                <c:pt idx="2">
                  <c:v>0.1151036230803638</c:v>
                </c:pt>
              </c:numCache>
            </c:numRef>
          </c:val>
          <c:extLst>
            <c:ext xmlns:c16="http://schemas.microsoft.com/office/drawing/2014/chart" uri="{C3380CC4-5D6E-409C-BE32-E72D297353CC}">
              <c16:uniqueId val="{00000006-787B-451A-B756-75FE354A3767}"/>
            </c:ext>
          </c:extLst>
        </c:ser>
        <c:dLbls>
          <c:dLblPos val="ctr"/>
          <c:showLegendKey val="0"/>
          <c:showVal val="0"/>
          <c:showCatName val="0"/>
          <c:showSerName val="0"/>
          <c:showPercent val="1"/>
          <c:showBubbleSize val="0"/>
          <c:showLeaderLines val="1"/>
        </c:dLbls>
        <c:firstSliceAng val="0"/>
        <c:extLst>
          <c:ext xmlns:c15="http://schemas.microsoft.com/office/drawing/2012/chart" uri="{02D57815-91ED-43cb-92C2-25804820EDAC}">
            <c15:filteredPieSeries>
              <c15:ser>
                <c:idx val="0"/>
                <c:order val="0"/>
                <c:dPt>
                  <c:idx val="0"/>
                  <c:bubble3D val="0"/>
                  <c:spPr>
                    <a:solidFill>
                      <a:schemeClr val="accent1"/>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8-787B-451A-B756-75FE354A3767}"/>
                    </c:ext>
                  </c:extLst>
                </c:dPt>
                <c:dPt>
                  <c:idx val="1"/>
                  <c:bubble3D val="0"/>
                  <c:spPr>
                    <a:solidFill>
                      <a:schemeClr val="accent2"/>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A-787B-451A-B756-75FE354A3767}"/>
                    </c:ext>
                  </c:extLst>
                </c:dPt>
                <c:dPt>
                  <c:idx val="2"/>
                  <c:bubble3D val="0"/>
                  <c:spPr>
                    <a:solidFill>
                      <a:schemeClr val="accent3"/>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C-787B-451A-B756-75FE354A3767}"/>
                    </c:ext>
                  </c:extLst>
                </c:dPt>
                <c:dLbls>
                  <c:spPr>
                    <a:pattFill prst="pct75">
                      <a:fgClr>
                        <a:schemeClr val="dk1">
                          <a:lumMod val="75000"/>
                          <a:lumOff val="25000"/>
                        </a:schemeClr>
                      </a:fgClr>
                      <a:bgClr>
                        <a:schemeClr val="dk1">
                          <a:lumMod val="65000"/>
                          <a:lumOff val="35000"/>
                        </a:schemeClr>
                      </a:bgClr>
                    </a:patt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lt1"/>
                          </a:solidFill>
                          <a:latin typeface="+mn-lt"/>
                          <a:ea typeface="+mn-ea"/>
                          <a:cs typeface="+mn-cs"/>
                        </a:defRPr>
                      </a:pPr>
                      <a:endParaRPr lang="en-US"/>
                    </a:p>
                  </c:txPr>
                  <c:dLblPos val="ctr"/>
                  <c:showLegendKey val="0"/>
                  <c:showVal val="0"/>
                  <c:showCatName val="0"/>
                  <c:showSerName val="0"/>
                  <c:showPercent val="1"/>
                  <c:showBubbleSize val="0"/>
                  <c:showLeaderLines val="1"/>
                  <c:leaderLines>
                    <c:spPr>
                      <a:ln w="9525">
                        <a:solidFill>
                          <a:schemeClr val="dk1">
                            <a:lumMod val="50000"/>
                            <a:lumOff val="50000"/>
                          </a:schemeClr>
                        </a:solidFill>
                      </a:ln>
                      <a:effectLst/>
                    </c:spPr>
                  </c:leaderLines>
                  <c:extLst>
                    <c:ext uri="{CE6537A1-D6FC-4f65-9D91-7224C49458BB}"/>
                  </c:extLst>
                </c:dLbls>
                <c:cat>
                  <c:strRef>
                    <c:extLst>
                      <c:ext uri="{02D57815-91ED-43cb-92C2-25804820EDAC}">
                        <c15:formulaRef>
                          <c15:sqref>Sheet2!$A$3:$A$5</c15:sqref>
                        </c15:formulaRef>
                      </c:ext>
                    </c:extLst>
                    <c:strCache>
                      <c:ptCount val="3"/>
                      <c:pt idx="0">
                        <c:v>English</c:v>
                      </c:pt>
                      <c:pt idx="1">
                        <c:v>Spanish</c:v>
                      </c:pt>
                      <c:pt idx="2">
                        <c:v>Other</c:v>
                      </c:pt>
                    </c:strCache>
                  </c:strRef>
                </c:cat>
                <c:val>
                  <c:numRef>
                    <c:extLst>
                      <c:ext uri="{02D57815-91ED-43cb-92C2-25804820EDAC}">
                        <c15:formulaRef>
                          <c15:sqref>Sheet2!$B$3:$B$5</c15:sqref>
                        </c15:formulaRef>
                      </c:ext>
                    </c:extLst>
                    <c:numCache>
                      <c:formatCode>General</c:formatCode>
                      <c:ptCount val="3"/>
                    </c:numCache>
                  </c:numRef>
                </c:val>
                <c:extLst>
                  <c:ext xmlns:c16="http://schemas.microsoft.com/office/drawing/2014/chart" uri="{C3380CC4-5D6E-409C-BE32-E72D297353CC}">
                    <c16:uniqueId val="{0000000D-787B-451A-B756-75FE354A3767}"/>
                  </c:ext>
                </c:extLst>
              </c15:ser>
            </c15:filteredPieSeries>
            <c15:filteredPieSeries>
              <c15:ser>
                <c:idx val="1"/>
                <c:order val="1"/>
                <c:dPt>
                  <c:idx val="0"/>
                  <c:bubble3D val="0"/>
                  <c:spPr>
                    <a:solidFill>
                      <a:schemeClr val="accent1"/>
                    </a:solidFill>
                    <a:ln>
                      <a:noFill/>
                    </a:ln>
                    <a:effectLst>
                      <a:outerShdw blurRad="254000" sx="102000" sy="102000" algn="ctr" rotWithShape="0">
                        <a:prstClr val="black">
                          <a:alpha val="20000"/>
                        </a:prstClr>
                      </a:outerShdw>
                    </a:effectLst>
                  </c:spPr>
                  <c:extLst xmlns:c15="http://schemas.microsoft.com/office/drawing/2012/chart">
                    <c:ext xmlns:c16="http://schemas.microsoft.com/office/drawing/2014/chart" uri="{C3380CC4-5D6E-409C-BE32-E72D297353CC}">
                      <c16:uniqueId val="{0000000F-787B-451A-B756-75FE354A3767}"/>
                    </c:ext>
                  </c:extLst>
                </c:dPt>
                <c:dPt>
                  <c:idx val="1"/>
                  <c:bubble3D val="0"/>
                  <c:spPr>
                    <a:solidFill>
                      <a:schemeClr val="accent2"/>
                    </a:solidFill>
                    <a:ln>
                      <a:noFill/>
                    </a:ln>
                    <a:effectLst>
                      <a:outerShdw blurRad="254000" sx="102000" sy="102000" algn="ctr" rotWithShape="0">
                        <a:prstClr val="black">
                          <a:alpha val="20000"/>
                        </a:prstClr>
                      </a:outerShdw>
                    </a:effectLst>
                  </c:spPr>
                  <c:extLst xmlns:c15="http://schemas.microsoft.com/office/drawing/2012/chart">
                    <c:ext xmlns:c16="http://schemas.microsoft.com/office/drawing/2014/chart" uri="{C3380CC4-5D6E-409C-BE32-E72D297353CC}">
                      <c16:uniqueId val="{00000011-787B-451A-B756-75FE354A3767}"/>
                    </c:ext>
                  </c:extLst>
                </c:dPt>
                <c:dPt>
                  <c:idx val="2"/>
                  <c:bubble3D val="0"/>
                  <c:spPr>
                    <a:solidFill>
                      <a:schemeClr val="accent3"/>
                    </a:solidFill>
                    <a:ln>
                      <a:noFill/>
                    </a:ln>
                    <a:effectLst>
                      <a:outerShdw blurRad="254000" sx="102000" sy="102000" algn="ctr" rotWithShape="0">
                        <a:prstClr val="black">
                          <a:alpha val="20000"/>
                        </a:prstClr>
                      </a:outerShdw>
                    </a:effectLst>
                  </c:spPr>
                  <c:extLst xmlns:c15="http://schemas.microsoft.com/office/drawing/2012/chart">
                    <c:ext xmlns:c16="http://schemas.microsoft.com/office/drawing/2014/chart" uri="{C3380CC4-5D6E-409C-BE32-E72D297353CC}">
                      <c16:uniqueId val="{00000013-787B-451A-B756-75FE354A3767}"/>
                    </c:ext>
                  </c:extLst>
                </c:dPt>
                <c:dLbls>
                  <c:spPr>
                    <a:pattFill prst="pct75">
                      <a:fgClr>
                        <a:schemeClr val="dk1">
                          <a:lumMod val="75000"/>
                          <a:lumOff val="25000"/>
                        </a:schemeClr>
                      </a:fgClr>
                      <a:bgClr>
                        <a:schemeClr val="dk1">
                          <a:lumMod val="65000"/>
                          <a:lumOff val="35000"/>
                        </a:schemeClr>
                      </a:bgClr>
                    </a:patt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lt1"/>
                          </a:solidFill>
                          <a:latin typeface="+mn-lt"/>
                          <a:ea typeface="+mn-ea"/>
                          <a:cs typeface="+mn-cs"/>
                        </a:defRPr>
                      </a:pPr>
                      <a:endParaRPr lang="en-US"/>
                    </a:p>
                  </c:txPr>
                  <c:dLblPos val="ctr"/>
                  <c:showLegendKey val="0"/>
                  <c:showVal val="0"/>
                  <c:showCatName val="0"/>
                  <c:showSerName val="0"/>
                  <c:showPercent val="1"/>
                  <c:showBubbleSize val="0"/>
                  <c:showLeaderLines val="1"/>
                  <c:leaderLines>
                    <c:spPr>
                      <a:ln w="9525">
                        <a:solidFill>
                          <a:schemeClr val="dk1">
                            <a:lumMod val="50000"/>
                            <a:lumOff val="50000"/>
                          </a:schemeClr>
                        </a:solidFill>
                      </a:ln>
                      <a:effectLst/>
                    </c:spPr>
                  </c:leaderLines>
                  <c:extLst xmlns:c15="http://schemas.microsoft.com/office/drawing/2012/chart">
                    <c:ext xmlns:c15="http://schemas.microsoft.com/office/drawing/2012/chart" uri="{CE6537A1-D6FC-4f65-9D91-7224C49458BB}"/>
                  </c:extLst>
                </c:dLbls>
                <c:cat>
                  <c:strRef>
                    <c:extLst xmlns:c15="http://schemas.microsoft.com/office/drawing/2012/chart">
                      <c:ext xmlns:c15="http://schemas.microsoft.com/office/drawing/2012/chart" uri="{02D57815-91ED-43cb-92C2-25804820EDAC}">
                        <c15:formulaRef>
                          <c15:sqref>Sheet2!$A$3:$A$5</c15:sqref>
                        </c15:formulaRef>
                      </c:ext>
                    </c:extLst>
                    <c:strCache>
                      <c:ptCount val="3"/>
                      <c:pt idx="0">
                        <c:v>English</c:v>
                      </c:pt>
                      <c:pt idx="1">
                        <c:v>Spanish</c:v>
                      </c:pt>
                      <c:pt idx="2">
                        <c:v>Other</c:v>
                      </c:pt>
                    </c:strCache>
                  </c:strRef>
                </c:cat>
                <c:val>
                  <c:numRef>
                    <c:extLst xmlns:c15="http://schemas.microsoft.com/office/drawing/2012/chart">
                      <c:ext xmlns:c15="http://schemas.microsoft.com/office/drawing/2012/chart" uri="{02D57815-91ED-43cb-92C2-25804820EDAC}">
                        <c15:formulaRef>
                          <c15:sqref>Sheet2!$C$3:$C$5</c15:sqref>
                        </c15:formulaRef>
                      </c:ext>
                    </c:extLst>
                    <c:numCache>
                      <c:formatCode>General</c:formatCode>
                      <c:ptCount val="3"/>
                      <c:pt idx="0">
                        <c:v>34386</c:v>
                      </c:pt>
                      <c:pt idx="1">
                        <c:v>1224</c:v>
                      </c:pt>
                      <c:pt idx="2">
                        <c:v>4632</c:v>
                      </c:pt>
                    </c:numCache>
                  </c:numRef>
                </c:val>
                <c:extLst xmlns:c15="http://schemas.microsoft.com/office/drawing/2012/chart">
                  <c:ext xmlns:c16="http://schemas.microsoft.com/office/drawing/2014/chart" uri="{C3380CC4-5D6E-409C-BE32-E72D297353CC}">
                    <c16:uniqueId val="{00000014-787B-451A-B756-75FE354A3767}"/>
                  </c:ext>
                </c:extLst>
              </c15:ser>
            </c15:filteredPieSeries>
          </c:ext>
        </c:extLst>
      </c:pieChart>
      <c:spPr>
        <a:noFill/>
        <a:ln>
          <a:noFill/>
        </a:ln>
        <a:effectLst/>
      </c:spPr>
    </c:plotArea>
    <c:legend>
      <c:legendPos val="r"/>
      <c:overlay val="0"/>
      <c:spPr>
        <a:solidFill>
          <a:schemeClr val="lt1">
            <a:lumMod val="95000"/>
            <a:alpha val="39000"/>
          </a:schemeClr>
        </a:solidFill>
        <a:ln>
          <a:noFill/>
        </a:ln>
        <a:effectLst/>
      </c:spPr>
      <c:txPr>
        <a:bodyPr rot="0" spcFirstLastPara="1" vertOverflow="ellipsis" vert="horz" wrap="square" anchor="ctr" anchorCtr="1"/>
        <a:lstStyle/>
        <a:p>
          <a:pPr>
            <a:defRPr sz="900" b="0" i="0" u="none" strike="noStrike" kern="1200" baseline="0">
              <a:solidFill>
                <a:schemeClr val="dk1">
                  <a:lumMod val="75000"/>
                  <a:lumOff val="2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1" i="0" u="none" strike="noStrike" kern="1200" baseline="0">
                <a:solidFill>
                  <a:schemeClr val="dk1">
                    <a:lumMod val="75000"/>
                    <a:lumOff val="25000"/>
                  </a:schemeClr>
                </a:solidFill>
                <a:latin typeface="+mn-lt"/>
                <a:ea typeface="+mn-ea"/>
                <a:cs typeface="+mn-cs"/>
              </a:defRPr>
            </a:pPr>
            <a:r>
              <a:rPr lang="en-US"/>
              <a:t>Demographic Counts by Sex </a:t>
            </a:r>
          </a:p>
        </c:rich>
      </c:tx>
      <c:overlay val="0"/>
      <c:spPr>
        <a:noFill/>
        <a:ln>
          <a:noFill/>
        </a:ln>
        <a:effectLst/>
      </c:spPr>
      <c:txPr>
        <a:bodyPr rot="0" spcFirstLastPara="1" vertOverflow="ellipsis" vert="horz" wrap="square" anchor="ctr" anchorCtr="1"/>
        <a:lstStyle/>
        <a:p>
          <a:pPr>
            <a:defRPr sz="1800" b="1" i="0" u="none" strike="noStrike" kern="1200" baseline="0">
              <a:solidFill>
                <a:schemeClr val="dk1">
                  <a:lumMod val="75000"/>
                  <a:lumOff val="25000"/>
                </a:schemeClr>
              </a:solidFill>
              <a:latin typeface="+mn-lt"/>
              <a:ea typeface="+mn-ea"/>
              <a:cs typeface="+mn-cs"/>
            </a:defRPr>
          </a:pPr>
          <a:endParaRPr lang="en-US"/>
        </a:p>
      </c:txPr>
    </c:title>
    <c:autoTitleDeleted val="0"/>
    <c:plotArea>
      <c:layout/>
      <c:pieChart>
        <c:varyColors val="1"/>
        <c:ser>
          <c:idx val="2"/>
          <c:order val="2"/>
          <c:dPt>
            <c:idx val="0"/>
            <c:bubble3D val="0"/>
            <c:spPr>
              <a:solidFill>
                <a:schemeClr val="accent1"/>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1-8F1F-44E2-8A10-6ED6A674E515}"/>
              </c:ext>
            </c:extLst>
          </c:dPt>
          <c:dPt>
            <c:idx val="1"/>
            <c:bubble3D val="0"/>
            <c:spPr>
              <a:solidFill>
                <a:schemeClr val="accent2"/>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3-8F1F-44E2-8A10-6ED6A674E515}"/>
              </c:ext>
            </c:extLst>
          </c:dPt>
          <c:dLbls>
            <c:spPr>
              <a:pattFill prst="pct75">
                <a:fgClr>
                  <a:schemeClr val="dk1">
                    <a:lumMod val="75000"/>
                    <a:lumOff val="25000"/>
                  </a:schemeClr>
                </a:fgClr>
                <a:bgClr>
                  <a:schemeClr val="dk1">
                    <a:lumMod val="65000"/>
                    <a:lumOff val="35000"/>
                  </a:schemeClr>
                </a:bgClr>
              </a:patt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lt1"/>
                    </a:solidFill>
                    <a:latin typeface="+mn-lt"/>
                    <a:ea typeface="+mn-ea"/>
                    <a:cs typeface="+mn-cs"/>
                  </a:defRPr>
                </a:pPr>
                <a:endParaRPr lang="en-US"/>
              </a:p>
            </c:txPr>
            <c:dLblPos val="ctr"/>
            <c:showLegendKey val="0"/>
            <c:showVal val="0"/>
            <c:showCatName val="0"/>
            <c:showSerName val="0"/>
            <c:showPercent val="1"/>
            <c:showBubbleSize val="0"/>
            <c:showLeaderLines val="1"/>
            <c:leaderLines>
              <c:spPr>
                <a:ln w="9525">
                  <a:solidFill>
                    <a:schemeClr val="dk1">
                      <a:lumMod val="50000"/>
                      <a:lumOff val="50000"/>
                    </a:schemeClr>
                  </a:solidFill>
                </a:ln>
                <a:effectLst/>
              </c:spPr>
            </c:leaderLines>
            <c:extLst>
              <c:ext xmlns:c15="http://schemas.microsoft.com/office/drawing/2012/chart" uri="{CE6537A1-D6FC-4f65-9D91-7224C49458BB}"/>
            </c:extLst>
          </c:dLbls>
          <c:cat>
            <c:strRef>
              <c:f>Sheet2!$A$8:$A$9</c:f>
              <c:strCache>
                <c:ptCount val="2"/>
                <c:pt idx="0">
                  <c:v>Male</c:v>
                </c:pt>
                <c:pt idx="1">
                  <c:v>Female</c:v>
                </c:pt>
              </c:strCache>
              <c:extLst/>
            </c:strRef>
          </c:cat>
          <c:val>
            <c:numRef>
              <c:f>Sheet2!$D$8:$D$9</c:f>
              <c:numCache>
                <c:formatCode>0.0%</c:formatCode>
                <c:ptCount val="2"/>
                <c:pt idx="0">
                  <c:v>0.41364743303016749</c:v>
                </c:pt>
                <c:pt idx="1">
                  <c:v>0.58635256696983251</c:v>
                </c:pt>
              </c:numCache>
              <c:extLst/>
            </c:numRef>
          </c:val>
          <c:extLst>
            <c:ext xmlns:c16="http://schemas.microsoft.com/office/drawing/2014/chart" uri="{C3380CC4-5D6E-409C-BE32-E72D297353CC}">
              <c16:uniqueId val="{00000004-8F1F-44E2-8A10-6ED6A674E515}"/>
            </c:ext>
          </c:extLst>
        </c:ser>
        <c:dLbls>
          <c:dLblPos val="ctr"/>
          <c:showLegendKey val="0"/>
          <c:showVal val="0"/>
          <c:showCatName val="0"/>
          <c:showSerName val="0"/>
          <c:showPercent val="1"/>
          <c:showBubbleSize val="0"/>
          <c:showLeaderLines val="1"/>
        </c:dLbls>
        <c:firstSliceAng val="0"/>
        <c:extLst>
          <c:ext xmlns:c15="http://schemas.microsoft.com/office/drawing/2012/chart" uri="{02D57815-91ED-43cb-92C2-25804820EDAC}">
            <c15:filteredPieSeries>
              <c15:ser>
                <c:idx val="0"/>
                <c:order val="0"/>
                <c:dPt>
                  <c:idx val="0"/>
                  <c:bubble3D val="0"/>
                  <c:spPr>
                    <a:solidFill>
                      <a:schemeClr val="accent1"/>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6-8F1F-44E2-8A10-6ED6A674E515}"/>
                    </c:ext>
                  </c:extLst>
                </c:dPt>
                <c:dPt>
                  <c:idx val="1"/>
                  <c:bubble3D val="0"/>
                  <c:spPr>
                    <a:solidFill>
                      <a:schemeClr val="accent2"/>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8-8F1F-44E2-8A10-6ED6A674E515}"/>
                    </c:ext>
                  </c:extLst>
                </c:dPt>
                <c:dLbls>
                  <c:spPr>
                    <a:pattFill prst="pct75">
                      <a:fgClr>
                        <a:schemeClr val="dk1">
                          <a:lumMod val="75000"/>
                          <a:lumOff val="25000"/>
                        </a:schemeClr>
                      </a:fgClr>
                      <a:bgClr>
                        <a:schemeClr val="dk1">
                          <a:lumMod val="65000"/>
                          <a:lumOff val="35000"/>
                        </a:schemeClr>
                      </a:bgClr>
                    </a:patt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lt1"/>
                          </a:solidFill>
                          <a:latin typeface="+mn-lt"/>
                          <a:ea typeface="+mn-ea"/>
                          <a:cs typeface="+mn-cs"/>
                        </a:defRPr>
                      </a:pPr>
                      <a:endParaRPr lang="en-US"/>
                    </a:p>
                  </c:txPr>
                  <c:dLblPos val="ctr"/>
                  <c:showLegendKey val="0"/>
                  <c:showVal val="0"/>
                  <c:showCatName val="0"/>
                  <c:showSerName val="0"/>
                  <c:showPercent val="1"/>
                  <c:showBubbleSize val="0"/>
                  <c:showLeaderLines val="1"/>
                  <c:leaderLines>
                    <c:spPr>
                      <a:ln w="9525">
                        <a:solidFill>
                          <a:schemeClr val="dk1">
                            <a:lumMod val="50000"/>
                            <a:lumOff val="50000"/>
                          </a:schemeClr>
                        </a:solidFill>
                      </a:ln>
                      <a:effectLst/>
                    </c:spPr>
                  </c:leaderLines>
                  <c:extLst>
                    <c:ext uri="{CE6537A1-D6FC-4f65-9D91-7224C49458BB}"/>
                  </c:extLst>
                </c:dLbls>
                <c:cat>
                  <c:strRef>
                    <c:extLst>
                      <c:ext uri="{02D57815-91ED-43cb-92C2-25804820EDAC}">
                        <c15:formulaRef>
                          <c15:sqref>Sheet2!$A$8:$A$9</c15:sqref>
                        </c15:formulaRef>
                      </c:ext>
                    </c:extLst>
                    <c:strCache>
                      <c:ptCount val="2"/>
                      <c:pt idx="0">
                        <c:v>Male</c:v>
                      </c:pt>
                      <c:pt idx="1">
                        <c:v>Female</c:v>
                      </c:pt>
                    </c:strCache>
                  </c:strRef>
                </c:cat>
                <c:val>
                  <c:numRef>
                    <c:extLst>
                      <c:ext uri="{02D57815-91ED-43cb-92C2-25804820EDAC}">
                        <c15:formulaRef>
                          <c15:sqref>Sheet2!$B$8:$B$9</c15:sqref>
                        </c15:formulaRef>
                      </c:ext>
                    </c:extLst>
                    <c:numCache>
                      <c:formatCode>General</c:formatCode>
                      <c:ptCount val="2"/>
                      <c:pt idx="0">
                        <c:v>16646</c:v>
                      </c:pt>
                      <c:pt idx="1">
                        <c:v>23596</c:v>
                      </c:pt>
                    </c:numCache>
                  </c:numRef>
                </c:val>
                <c:extLst>
                  <c:ext xmlns:c16="http://schemas.microsoft.com/office/drawing/2014/chart" uri="{C3380CC4-5D6E-409C-BE32-E72D297353CC}">
                    <c16:uniqueId val="{00000009-8F1F-44E2-8A10-6ED6A674E515}"/>
                  </c:ext>
                </c:extLst>
              </c15:ser>
            </c15:filteredPieSeries>
            <c15:filteredPieSeries>
              <c15:ser>
                <c:idx val="1"/>
                <c:order val="1"/>
                <c:dPt>
                  <c:idx val="0"/>
                  <c:bubble3D val="0"/>
                  <c:spPr>
                    <a:solidFill>
                      <a:schemeClr val="accent1"/>
                    </a:solidFill>
                    <a:ln>
                      <a:noFill/>
                    </a:ln>
                    <a:effectLst>
                      <a:outerShdw blurRad="254000" sx="102000" sy="102000" algn="ctr" rotWithShape="0">
                        <a:prstClr val="black">
                          <a:alpha val="20000"/>
                        </a:prstClr>
                      </a:outerShdw>
                    </a:effectLst>
                  </c:spPr>
                  <c:extLst xmlns:c15="http://schemas.microsoft.com/office/drawing/2012/chart">
                    <c:ext xmlns:c16="http://schemas.microsoft.com/office/drawing/2014/chart" uri="{C3380CC4-5D6E-409C-BE32-E72D297353CC}">
                      <c16:uniqueId val="{0000000B-8F1F-44E2-8A10-6ED6A674E515}"/>
                    </c:ext>
                  </c:extLst>
                </c:dPt>
                <c:dPt>
                  <c:idx val="1"/>
                  <c:bubble3D val="0"/>
                  <c:spPr>
                    <a:solidFill>
                      <a:schemeClr val="accent2"/>
                    </a:solidFill>
                    <a:ln>
                      <a:noFill/>
                    </a:ln>
                    <a:effectLst>
                      <a:outerShdw blurRad="254000" sx="102000" sy="102000" algn="ctr" rotWithShape="0">
                        <a:prstClr val="black">
                          <a:alpha val="20000"/>
                        </a:prstClr>
                      </a:outerShdw>
                    </a:effectLst>
                  </c:spPr>
                  <c:extLst xmlns:c15="http://schemas.microsoft.com/office/drawing/2012/chart">
                    <c:ext xmlns:c16="http://schemas.microsoft.com/office/drawing/2014/chart" uri="{C3380CC4-5D6E-409C-BE32-E72D297353CC}">
                      <c16:uniqueId val="{0000000D-8F1F-44E2-8A10-6ED6A674E515}"/>
                    </c:ext>
                  </c:extLst>
                </c:dPt>
                <c:dLbls>
                  <c:spPr>
                    <a:pattFill prst="pct75">
                      <a:fgClr>
                        <a:schemeClr val="dk1">
                          <a:lumMod val="75000"/>
                          <a:lumOff val="25000"/>
                        </a:schemeClr>
                      </a:fgClr>
                      <a:bgClr>
                        <a:schemeClr val="dk1">
                          <a:lumMod val="65000"/>
                          <a:lumOff val="35000"/>
                        </a:schemeClr>
                      </a:bgClr>
                    </a:patt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lt1"/>
                          </a:solidFill>
                          <a:latin typeface="+mn-lt"/>
                          <a:ea typeface="+mn-ea"/>
                          <a:cs typeface="+mn-cs"/>
                        </a:defRPr>
                      </a:pPr>
                      <a:endParaRPr lang="en-US"/>
                    </a:p>
                  </c:txPr>
                  <c:dLblPos val="ctr"/>
                  <c:showLegendKey val="0"/>
                  <c:showVal val="0"/>
                  <c:showCatName val="0"/>
                  <c:showSerName val="0"/>
                  <c:showPercent val="1"/>
                  <c:showBubbleSize val="0"/>
                  <c:showLeaderLines val="1"/>
                  <c:leaderLines>
                    <c:spPr>
                      <a:ln w="9525">
                        <a:solidFill>
                          <a:schemeClr val="dk1">
                            <a:lumMod val="50000"/>
                            <a:lumOff val="50000"/>
                          </a:schemeClr>
                        </a:solidFill>
                      </a:ln>
                      <a:effectLst/>
                    </c:spPr>
                  </c:leaderLines>
                  <c:extLst xmlns:c15="http://schemas.microsoft.com/office/drawing/2012/chart">
                    <c:ext xmlns:c15="http://schemas.microsoft.com/office/drawing/2012/chart" uri="{CE6537A1-D6FC-4f65-9D91-7224C49458BB}"/>
                  </c:extLst>
                </c:dLbls>
                <c:cat>
                  <c:strRef>
                    <c:extLst xmlns:c15="http://schemas.microsoft.com/office/drawing/2012/chart">
                      <c:ext xmlns:c15="http://schemas.microsoft.com/office/drawing/2012/chart" uri="{02D57815-91ED-43cb-92C2-25804820EDAC}">
                        <c15:formulaRef>
                          <c15:sqref>Sheet2!$A$8:$A$9</c15:sqref>
                        </c15:formulaRef>
                      </c:ext>
                    </c:extLst>
                    <c:strCache>
                      <c:ptCount val="2"/>
                      <c:pt idx="0">
                        <c:v>Male</c:v>
                      </c:pt>
                      <c:pt idx="1">
                        <c:v>Female</c:v>
                      </c:pt>
                    </c:strCache>
                  </c:strRef>
                </c:cat>
                <c:val>
                  <c:numRef>
                    <c:extLst xmlns:c15="http://schemas.microsoft.com/office/drawing/2012/chart">
                      <c:ext xmlns:c15="http://schemas.microsoft.com/office/drawing/2012/chart" uri="{02D57815-91ED-43cb-92C2-25804820EDAC}">
                        <c15:formulaRef>
                          <c15:sqref>Sheet2!$C$8:$C$9</c15:sqref>
                        </c15:formulaRef>
                      </c:ext>
                    </c:extLst>
                    <c:numCache>
                      <c:formatCode>General</c:formatCode>
                      <c:ptCount val="2"/>
                    </c:numCache>
                  </c:numRef>
                </c:val>
                <c:extLst xmlns:c15="http://schemas.microsoft.com/office/drawing/2012/chart">
                  <c:ext xmlns:c16="http://schemas.microsoft.com/office/drawing/2014/chart" uri="{C3380CC4-5D6E-409C-BE32-E72D297353CC}">
                    <c16:uniqueId val="{0000000E-8F1F-44E2-8A10-6ED6A674E515}"/>
                  </c:ext>
                </c:extLst>
              </c15:ser>
            </c15:filteredPieSeries>
          </c:ext>
        </c:extLst>
      </c:pieChart>
      <c:spPr>
        <a:noFill/>
        <a:ln>
          <a:noFill/>
        </a:ln>
        <a:effectLst/>
      </c:spPr>
    </c:plotArea>
    <c:legend>
      <c:legendPos val="r"/>
      <c:overlay val="0"/>
      <c:spPr>
        <a:solidFill>
          <a:schemeClr val="lt1">
            <a:lumMod val="95000"/>
            <a:alpha val="39000"/>
          </a:schemeClr>
        </a:solidFill>
        <a:ln>
          <a:noFill/>
        </a:ln>
        <a:effectLst/>
      </c:spPr>
      <c:txPr>
        <a:bodyPr rot="0" spcFirstLastPara="1" vertOverflow="ellipsis" vert="horz" wrap="square" anchor="ctr" anchorCtr="1"/>
        <a:lstStyle/>
        <a:p>
          <a:pPr>
            <a:defRPr sz="900" b="0" i="0" u="none" strike="noStrike" kern="1200" baseline="0">
              <a:solidFill>
                <a:schemeClr val="dk1">
                  <a:lumMod val="75000"/>
                  <a:lumOff val="2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1" i="0" u="none" strike="noStrike" kern="1200" baseline="0">
                <a:solidFill>
                  <a:schemeClr val="dk1">
                    <a:lumMod val="75000"/>
                    <a:lumOff val="25000"/>
                  </a:schemeClr>
                </a:solidFill>
                <a:latin typeface="+mn-lt"/>
                <a:ea typeface="+mn-ea"/>
                <a:cs typeface="+mn-cs"/>
              </a:defRPr>
            </a:pPr>
            <a:r>
              <a:rPr lang="en-US"/>
              <a:t>Demographic Counts by Age</a:t>
            </a:r>
          </a:p>
        </c:rich>
      </c:tx>
      <c:overlay val="0"/>
      <c:spPr>
        <a:noFill/>
        <a:ln>
          <a:noFill/>
        </a:ln>
        <a:effectLst/>
      </c:spPr>
      <c:txPr>
        <a:bodyPr rot="0" spcFirstLastPara="1" vertOverflow="ellipsis" vert="horz" wrap="square" anchor="ctr" anchorCtr="1"/>
        <a:lstStyle/>
        <a:p>
          <a:pPr>
            <a:defRPr sz="1800" b="1" i="0" u="none" strike="noStrike" kern="1200" baseline="0">
              <a:solidFill>
                <a:schemeClr val="dk1">
                  <a:lumMod val="75000"/>
                  <a:lumOff val="25000"/>
                </a:schemeClr>
              </a:solidFill>
              <a:latin typeface="+mn-lt"/>
              <a:ea typeface="+mn-ea"/>
              <a:cs typeface="+mn-cs"/>
            </a:defRPr>
          </a:pPr>
          <a:endParaRPr lang="en-US"/>
        </a:p>
      </c:txPr>
    </c:title>
    <c:autoTitleDeleted val="0"/>
    <c:plotArea>
      <c:layout/>
      <c:pieChart>
        <c:varyColors val="1"/>
        <c:ser>
          <c:idx val="0"/>
          <c:order val="0"/>
          <c:dPt>
            <c:idx val="0"/>
            <c:bubble3D val="0"/>
            <c:spPr>
              <a:solidFill>
                <a:schemeClr val="accent1"/>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1-CD0D-4E7A-976B-9781B085EC97}"/>
              </c:ext>
            </c:extLst>
          </c:dPt>
          <c:dPt>
            <c:idx val="1"/>
            <c:bubble3D val="0"/>
            <c:spPr>
              <a:solidFill>
                <a:schemeClr val="accent2"/>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3-CD0D-4E7A-976B-9781B085EC97}"/>
              </c:ext>
            </c:extLst>
          </c:dPt>
          <c:dPt>
            <c:idx val="2"/>
            <c:bubble3D val="0"/>
            <c:spPr>
              <a:solidFill>
                <a:schemeClr val="accent3"/>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5-CD0D-4E7A-976B-9781B085EC97}"/>
              </c:ext>
            </c:extLst>
          </c:dPt>
          <c:dPt>
            <c:idx val="3"/>
            <c:bubble3D val="0"/>
            <c:spPr>
              <a:solidFill>
                <a:schemeClr val="accent4"/>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7-CD0D-4E7A-976B-9781B085EC97}"/>
              </c:ext>
            </c:extLst>
          </c:dPt>
          <c:dPt>
            <c:idx val="4"/>
            <c:bubble3D val="0"/>
            <c:spPr>
              <a:solidFill>
                <a:schemeClr val="accent5"/>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9-CD0D-4E7A-976B-9781B085EC97}"/>
              </c:ext>
            </c:extLst>
          </c:dPt>
          <c:dLbls>
            <c:spPr>
              <a:pattFill prst="pct75">
                <a:fgClr>
                  <a:schemeClr val="dk1">
                    <a:lumMod val="75000"/>
                    <a:lumOff val="25000"/>
                  </a:schemeClr>
                </a:fgClr>
                <a:bgClr>
                  <a:schemeClr val="dk1">
                    <a:lumMod val="65000"/>
                    <a:lumOff val="35000"/>
                  </a:schemeClr>
                </a:bgClr>
              </a:patt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lt1"/>
                    </a:solidFill>
                    <a:latin typeface="+mn-lt"/>
                    <a:ea typeface="+mn-ea"/>
                    <a:cs typeface="+mn-cs"/>
                  </a:defRPr>
                </a:pPr>
                <a:endParaRPr lang="en-US"/>
              </a:p>
            </c:txPr>
            <c:dLblPos val="ctr"/>
            <c:showLegendKey val="0"/>
            <c:showVal val="0"/>
            <c:showCatName val="0"/>
            <c:showSerName val="0"/>
            <c:showPercent val="1"/>
            <c:showBubbleSize val="0"/>
            <c:showLeaderLines val="1"/>
            <c:leaderLines>
              <c:spPr>
                <a:ln w="9525">
                  <a:solidFill>
                    <a:schemeClr val="dk1">
                      <a:lumMod val="50000"/>
                      <a:lumOff val="50000"/>
                    </a:schemeClr>
                  </a:solidFill>
                </a:ln>
                <a:effectLst/>
              </c:spPr>
            </c:leaderLines>
            <c:extLst>
              <c:ext xmlns:c15="http://schemas.microsoft.com/office/drawing/2012/chart" uri="{CE6537A1-D6FC-4f65-9D91-7224C49458BB}"/>
            </c:extLst>
          </c:dLbls>
          <c:cat>
            <c:strRef>
              <c:f>Sheet2!$A$11:$A$15</c:f>
              <c:strCache>
                <c:ptCount val="5"/>
                <c:pt idx="0">
                  <c:v>Age</c:v>
                </c:pt>
                <c:pt idx="1">
                  <c:v>Under 18</c:v>
                </c:pt>
                <c:pt idx="2">
                  <c:v>18 to 40</c:v>
                </c:pt>
                <c:pt idx="3">
                  <c:v>41 to 64</c:v>
                </c:pt>
                <c:pt idx="4">
                  <c:v>65 and over</c:v>
                </c:pt>
              </c:strCache>
            </c:strRef>
          </c:cat>
          <c:val>
            <c:numRef>
              <c:f>Sheet2!$B$11:$B$15</c:f>
              <c:numCache>
                <c:formatCode>General</c:formatCode>
                <c:ptCount val="5"/>
                <c:pt idx="1">
                  <c:v>4521</c:v>
                </c:pt>
                <c:pt idx="2">
                  <c:v>7887</c:v>
                </c:pt>
                <c:pt idx="3">
                  <c:v>12907</c:v>
                </c:pt>
                <c:pt idx="4">
                  <c:v>14927</c:v>
                </c:pt>
              </c:numCache>
            </c:numRef>
          </c:val>
          <c:extLst>
            <c:ext xmlns:c16="http://schemas.microsoft.com/office/drawing/2014/chart" uri="{C3380CC4-5D6E-409C-BE32-E72D297353CC}">
              <c16:uniqueId val="{0000000A-CD0D-4E7A-976B-9781B085EC97}"/>
            </c:ext>
          </c:extLst>
        </c:ser>
        <c:ser>
          <c:idx val="1"/>
          <c:order val="1"/>
          <c:dPt>
            <c:idx val="0"/>
            <c:bubble3D val="0"/>
            <c:spPr>
              <a:solidFill>
                <a:schemeClr val="accent1"/>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C-CD0D-4E7A-976B-9781B085EC97}"/>
              </c:ext>
            </c:extLst>
          </c:dPt>
          <c:dPt>
            <c:idx val="1"/>
            <c:bubble3D val="0"/>
            <c:spPr>
              <a:solidFill>
                <a:schemeClr val="accent2"/>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E-CD0D-4E7A-976B-9781B085EC97}"/>
              </c:ext>
            </c:extLst>
          </c:dPt>
          <c:dPt>
            <c:idx val="2"/>
            <c:bubble3D val="0"/>
            <c:spPr>
              <a:solidFill>
                <a:schemeClr val="accent3"/>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10-CD0D-4E7A-976B-9781B085EC97}"/>
              </c:ext>
            </c:extLst>
          </c:dPt>
          <c:dPt>
            <c:idx val="3"/>
            <c:bubble3D val="0"/>
            <c:spPr>
              <a:solidFill>
                <a:schemeClr val="accent4"/>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12-CD0D-4E7A-976B-9781B085EC97}"/>
              </c:ext>
            </c:extLst>
          </c:dPt>
          <c:dPt>
            <c:idx val="4"/>
            <c:bubble3D val="0"/>
            <c:spPr>
              <a:solidFill>
                <a:schemeClr val="accent5"/>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14-CD0D-4E7A-976B-9781B085EC97}"/>
              </c:ext>
            </c:extLst>
          </c:dPt>
          <c:dLbls>
            <c:spPr>
              <a:pattFill prst="pct75">
                <a:fgClr>
                  <a:schemeClr val="dk1">
                    <a:lumMod val="75000"/>
                    <a:lumOff val="25000"/>
                  </a:schemeClr>
                </a:fgClr>
                <a:bgClr>
                  <a:schemeClr val="dk1">
                    <a:lumMod val="65000"/>
                    <a:lumOff val="35000"/>
                  </a:schemeClr>
                </a:bgClr>
              </a:patt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lt1"/>
                    </a:solidFill>
                    <a:latin typeface="+mn-lt"/>
                    <a:ea typeface="+mn-ea"/>
                    <a:cs typeface="+mn-cs"/>
                  </a:defRPr>
                </a:pPr>
                <a:endParaRPr lang="en-US"/>
              </a:p>
            </c:txPr>
            <c:dLblPos val="ctr"/>
            <c:showLegendKey val="0"/>
            <c:showVal val="0"/>
            <c:showCatName val="0"/>
            <c:showSerName val="0"/>
            <c:showPercent val="1"/>
            <c:showBubbleSize val="0"/>
            <c:showLeaderLines val="1"/>
            <c:leaderLines>
              <c:spPr>
                <a:ln w="9525">
                  <a:solidFill>
                    <a:schemeClr val="dk1">
                      <a:lumMod val="50000"/>
                      <a:lumOff val="50000"/>
                    </a:schemeClr>
                  </a:solidFill>
                </a:ln>
                <a:effectLst/>
              </c:spPr>
            </c:leaderLines>
            <c:extLst>
              <c:ext xmlns:c15="http://schemas.microsoft.com/office/drawing/2012/chart" uri="{CE6537A1-D6FC-4f65-9D91-7224C49458BB}"/>
            </c:extLst>
          </c:dLbls>
          <c:cat>
            <c:strRef>
              <c:f>Sheet2!$A$11:$A$15</c:f>
              <c:strCache>
                <c:ptCount val="5"/>
                <c:pt idx="0">
                  <c:v>Age</c:v>
                </c:pt>
                <c:pt idx="1">
                  <c:v>Under 18</c:v>
                </c:pt>
                <c:pt idx="2">
                  <c:v>18 to 40</c:v>
                </c:pt>
                <c:pt idx="3">
                  <c:v>41 to 64</c:v>
                </c:pt>
                <c:pt idx="4">
                  <c:v>65 and over</c:v>
                </c:pt>
              </c:strCache>
            </c:strRef>
          </c:cat>
          <c:val>
            <c:numRef>
              <c:f>Sheet2!$C$11:$C$15</c:f>
              <c:numCache>
                <c:formatCode>General</c:formatCode>
                <c:ptCount val="5"/>
              </c:numCache>
            </c:numRef>
          </c:val>
          <c:extLst>
            <c:ext xmlns:c16="http://schemas.microsoft.com/office/drawing/2014/chart" uri="{C3380CC4-5D6E-409C-BE32-E72D297353CC}">
              <c16:uniqueId val="{00000015-CD0D-4E7A-976B-9781B085EC97}"/>
            </c:ext>
          </c:extLst>
        </c:ser>
        <c:ser>
          <c:idx val="2"/>
          <c:order val="2"/>
          <c:dPt>
            <c:idx val="0"/>
            <c:bubble3D val="0"/>
            <c:spPr>
              <a:solidFill>
                <a:schemeClr val="accent1"/>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17-CD0D-4E7A-976B-9781B085EC97}"/>
              </c:ext>
            </c:extLst>
          </c:dPt>
          <c:dPt>
            <c:idx val="1"/>
            <c:bubble3D val="0"/>
            <c:spPr>
              <a:solidFill>
                <a:schemeClr val="accent2"/>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19-CD0D-4E7A-976B-9781B085EC97}"/>
              </c:ext>
            </c:extLst>
          </c:dPt>
          <c:dPt>
            <c:idx val="2"/>
            <c:bubble3D val="0"/>
            <c:spPr>
              <a:solidFill>
                <a:schemeClr val="accent3"/>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1B-CD0D-4E7A-976B-9781B085EC97}"/>
              </c:ext>
            </c:extLst>
          </c:dPt>
          <c:dPt>
            <c:idx val="3"/>
            <c:bubble3D val="0"/>
            <c:spPr>
              <a:solidFill>
                <a:schemeClr val="accent4"/>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1D-CD0D-4E7A-976B-9781B085EC97}"/>
              </c:ext>
            </c:extLst>
          </c:dPt>
          <c:dPt>
            <c:idx val="4"/>
            <c:bubble3D val="0"/>
            <c:spPr>
              <a:solidFill>
                <a:schemeClr val="accent5"/>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1F-CD0D-4E7A-976B-9781B085EC97}"/>
              </c:ext>
            </c:extLst>
          </c:dPt>
          <c:dLbls>
            <c:spPr>
              <a:pattFill prst="pct75">
                <a:fgClr>
                  <a:schemeClr val="dk1">
                    <a:lumMod val="75000"/>
                    <a:lumOff val="25000"/>
                  </a:schemeClr>
                </a:fgClr>
                <a:bgClr>
                  <a:schemeClr val="dk1">
                    <a:lumMod val="65000"/>
                    <a:lumOff val="35000"/>
                  </a:schemeClr>
                </a:bgClr>
              </a:patt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lt1"/>
                    </a:solidFill>
                    <a:latin typeface="+mn-lt"/>
                    <a:ea typeface="+mn-ea"/>
                    <a:cs typeface="+mn-cs"/>
                  </a:defRPr>
                </a:pPr>
                <a:endParaRPr lang="en-US"/>
              </a:p>
            </c:txPr>
            <c:dLblPos val="ctr"/>
            <c:showLegendKey val="0"/>
            <c:showVal val="0"/>
            <c:showCatName val="0"/>
            <c:showSerName val="0"/>
            <c:showPercent val="1"/>
            <c:showBubbleSize val="0"/>
            <c:showLeaderLines val="1"/>
            <c:leaderLines>
              <c:spPr>
                <a:ln w="9525">
                  <a:solidFill>
                    <a:schemeClr val="dk1">
                      <a:lumMod val="50000"/>
                      <a:lumOff val="50000"/>
                    </a:schemeClr>
                  </a:solidFill>
                </a:ln>
                <a:effectLst/>
              </c:spPr>
            </c:leaderLines>
            <c:extLst>
              <c:ext xmlns:c15="http://schemas.microsoft.com/office/drawing/2012/chart" uri="{CE6537A1-D6FC-4f65-9D91-7224C49458BB}"/>
            </c:extLst>
          </c:dLbls>
          <c:cat>
            <c:strRef>
              <c:f>Sheet2!$A$11:$A$15</c:f>
              <c:strCache>
                <c:ptCount val="5"/>
                <c:pt idx="0">
                  <c:v>Age</c:v>
                </c:pt>
                <c:pt idx="1">
                  <c:v>Under 18</c:v>
                </c:pt>
                <c:pt idx="2">
                  <c:v>18 to 40</c:v>
                </c:pt>
                <c:pt idx="3">
                  <c:v>41 to 64</c:v>
                </c:pt>
                <c:pt idx="4">
                  <c:v>65 and over</c:v>
                </c:pt>
              </c:strCache>
            </c:strRef>
          </c:cat>
          <c:val>
            <c:numRef>
              <c:f>Sheet2!$D$11:$D$15</c:f>
              <c:numCache>
                <c:formatCode>0.0%</c:formatCode>
                <c:ptCount val="5"/>
                <c:pt idx="1">
                  <c:v>0.11234531086924109</c:v>
                </c:pt>
                <c:pt idx="2">
                  <c:v>0.19598926494707022</c:v>
                </c:pt>
                <c:pt idx="3">
                  <c:v>0.32073455593658368</c:v>
                </c:pt>
                <c:pt idx="4">
                  <c:v>0.37093086824710503</c:v>
                </c:pt>
              </c:numCache>
            </c:numRef>
          </c:val>
          <c:extLst>
            <c:ext xmlns:c16="http://schemas.microsoft.com/office/drawing/2014/chart" uri="{C3380CC4-5D6E-409C-BE32-E72D297353CC}">
              <c16:uniqueId val="{00000020-CD0D-4E7A-976B-9781B085EC97}"/>
            </c:ext>
          </c:extLst>
        </c:ser>
        <c:dLbls>
          <c:dLblPos val="ctr"/>
          <c:showLegendKey val="0"/>
          <c:showVal val="0"/>
          <c:showCatName val="0"/>
          <c:showSerName val="0"/>
          <c:showPercent val="1"/>
          <c:showBubbleSize val="0"/>
          <c:showLeaderLines val="1"/>
        </c:dLbls>
        <c:firstSliceAng val="0"/>
      </c:pieChart>
      <c:spPr>
        <a:noFill/>
        <a:ln>
          <a:noFill/>
        </a:ln>
        <a:effectLst/>
      </c:spPr>
    </c:plotArea>
    <c:legend>
      <c:legendPos val="r"/>
      <c:overlay val="0"/>
      <c:spPr>
        <a:solidFill>
          <a:schemeClr val="lt1">
            <a:lumMod val="95000"/>
            <a:alpha val="39000"/>
          </a:schemeClr>
        </a:solidFill>
        <a:ln>
          <a:noFill/>
        </a:ln>
        <a:effectLst/>
      </c:spPr>
      <c:txPr>
        <a:bodyPr rot="0" spcFirstLastPara="1" vertOverflow="ellipsis" vert="horz" wrap="square" anchor="ctr" anchorCtr="1"/>
        <a:lstStyle/>
        <a:p>
          <a:pPr>
            <a:defRPr sz="900" b="0" i="0" u="none" strike="noStrike" kern="1200" baseline="0">
              <a:solidFill>
                <a:schemeClr val="dk1">
                  <a:lumMod val="75000"/>
                  <a:lumOff val="2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1" i="0" u="none" strike="noStrike" kern="1200" baseline="0">
                <a:solidFill>
                  <a:schemeClr val="dk1">
                    <a:lumMod val="75000"/>
                    <a:lumOff val="25000"/>
                  </a:schemeClr>
                </a:solidFill>
                <a:latin typeface="+mn-lt"/>
                <a:ea typeface="+mn-ea"/>
                <a:cs typeface="+mn-cs"/>
              </a:defRPr>
            </a:pPr>
            <a:r>
              <a:rPr lang="en-US"/>
              <a:t>Demographic Counts by Religion </a:t>
            </a:r>
          </a:p>
        </c:rich>
      </c:tx>
      <c:overlay val="0"/>
      <c:spPr>
        <a:noFill/>
        <a:ln>
          <a:noFill/>
        </a:ln>
        <a:effectLst/>
      </c:spPr>
      <c:txPr>
        <a:bodyPr rot="0" spcFirstLastPara="1" vertOverflow="ellipsis" vert="horz" wrap="square" anchor="ctr" anchorCtr="1"/>
        <a:lstStyle/>
        <a:p>
          <a:pPr>
            <a:defRPr sz="1800" b="1" i="0" u="none" strike="noStrike" kern="1200" baseline="0">
              <a:solidFill>
                <a:schemeClr val="dk1">
                  <a:lumMod val="75000"/>
                  <a:lumOff val="25000"/>
                </a:schemeClr>
              </a:solidFill>
              <a:latin typeface="+mn-lt"/>
              <a:ea typeface="+mn-ea"/>
              <a:cs typeface="+mn-cs"/>
            </a:defRPr>
          </a:pPr>
          <a:endParaRPr lang="en-US"/>
        </a:p>
      </c:txPr>
    </c:title>
    <c:autoTitleDeleted val="0"/>
    <c:plotArea>
      <c:layout/>
      <c:pieChart>
        <c:varyColors val="1"/>
        <c:ser>
          <c:idx val="0"/>
          <c:order val="0"/>
          <c:explosion val="15"/>
          <c:dPt>
            <c:idx val="0"/>
            <c:bubble3D val="0"/>
            <c:spPr>
              <a:solidFill>
                <a:schemeClr val="accent1"/>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1-31B4-47B3-BE38-FD73CD4FE8AD}"/>
              </c:ext>
            </c:extLst>
          </c:dPt>
          <c:dPt>
            <c:idx val="1"/>
            <c:bubble3D val="0"/>
            <c:spPr>
              <a:solidFill>
                <a:schemeClr val="accent2"/>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3-31B4-47B3-BE38-FD73CD4FE8AD}"/>
              </c:ext>
            </c:extLst>
          </c:dPt>
          <c:dPt>
            <c:idx val="2"/>
            <c:bubble3D val="0"/>
            <c:spPr>
              <a:solidFill>
                <a:schemeClr val="accent3"/>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5-31B4-47B3-BE38-FD73CD4FE8AD}"/>
              </c:ext>
            </c:extLst>
          </c:dPt>
          <c:dPt>
            <c:idx val="3"/>
            <c:bubble3D val="0"/>
            <c:spPr>
              <a:solidFill>
                <a:schemeClr val="accent4"/>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7-31B4-47B3-BE38-FD73CD4FE8AD}"/>
              </c:ext>
            </c:extLst>
          </c:dPt>
          <c:dPt>
            <c:idx val="4"/>
            <c:bubble3D val="0"/>
            <c:spPr>
              <a:solidFill>
                <a:schemeClr val="accent5"/>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9-31B4-47B3-BE38-FD73CD4FE8AD}"/>
              </c:ext>
            </c:extLst>
          </c:dPt>
          <c:dLbls>
            <c:dLbl>
              <c:idx val="2"/>
              <c:layout>
                <c:manualLayout>
                  <c:x val="-4.498786203064066E-2"/>
                  <c:y val="-1.6186399740467498E-3"/>
                </c:manualLayout>
              </c:layout>
              <c:dLblPos val="bestFi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5-31B4-47B3-BE38-FD73CD4FE8AD}"/>
                </c:ext>
              </c:extLst>
            </c:dLbl>
            <c:dLbl>
              <c:idx val="3"/>
              <c:layout>
                <c:manualLayout>
                  <c:x val="1.185584187442772E-2"/>
                  <c:y val="2.8265663245772208E-2"/>
                </c:manualLayout>
              </c:layout>
              <c:dLblPos val="bestFi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7-31B4-47B3-BE38-FD73CD4FE8AD}"/>
                </c:ext>
              </c:extLst>
            </c:dLbl>
            <c:spPr>
              <a:pattFill prst="pct75">
                <a:fgClr>
                  <a:schemeClr val="dk1">
                    <a:lumMod val="75000"/>
                    <a:lumOff val="25000"/>
                  </a:schemeClr>
                </a:fgClr>
                <a:bgClr>
                  <a:schemeClr val="dk1">
                    <a:lumMod val="65000"/>
                    <a:lumOff val="35000"/>
                  </a:schemeClr>
                </a:bgClr>
              </a:patt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lt1"/>
                    </a:solidFill>
                    <a:latin typeface="+mn-lt"/>
                    <a:ea typeface="+mn-ea"/>
                    <a:cs typeface="+mn-cs"/>
                  </a:defRPr>
                </a:pPr>
                <a:endParaRPr lang="en-US"/>
              </a:p>
            </c:txPr>
            <c:dLblPos val="ctr"/>
            <c:showLegendKey val="0"/>
            <c:showVal val="0"/>
            <c:showCatName val="0"/>
            <c:showSerName val="0"/>
            <c:showPercent val="1"/>
            <c:showBubbleSize val="0"/>
            <c:showLeaderLines val="1"/>
            <c:leaderLines>
              <c:spPr>
                <a:ln w="9525">
                  <a:solidFill>
                    <a:schemeClr val="dk1">
                      <a:lumMod val="50000"/>
                      <a:lumOff val="50000"/>
                    </a:schemeClr>
                  </a:solidFill>
                </a:ln>
                <a:effectLst/>
              </c:spPr>
            </c:leaderLines>
            <c:extLst>
              <c:ext xmlns:c15="http://schemas.microsoft.com/office/drawing/2012/chart" uri="{CE6537A1-D6FC-4f65-9D91-7224C49458BB}"/>
            </c:extLst>
          </c:dLbls>
          <c:cat>
            <c:strRef>
              <c:f>Sheet2!$A$17:$A$21</c:f>
              <c:strCache>
                <c:ptCount val="5"/>
                <c:pt idx="0">
                  <c:v>Religion</c:v>
                </c:pt>
                <c:pt idx="1">
                  <c:v>Christian</c:v>
                </c:pt>
                <c:pt idx="2">
                  <c:v>Irreligious</c:v>
                </c:pt>
                <c:pt idx="3">
                  <c:v>Other</c:v>
                </c:pt>
                <c:pt idx="4">
                  <c:v>Unknown</c:v>
                </c:pt>
              </c:strCache>
            </c:strRef>
          </c:cat>
          <c:val>
            <c:numRef>
              <c:f>Sheet2!$B$17:$B$21</c:f>
              <c:numCache>
                <c:formatCode>General</c:formatCode>
                <c:ptCount val="5"/>
                <c:pt idx="1">
                  <c:v>1907</c:v>
                </c:pt>
                <c:pt idx="2">
                  <c:v>134</c:v>
                </c:pt>
                <c:pt idx="3">
                  <c:v>138</c:v>
                </c:pt>
                <c:pt idx="4">
                  <c:v>38063</c:v>
                </c:pt>
              </c:numCache>
            </c:numRef>
          </c:val>
          <c:extLst>
            <c:ext xmlns:c16="http://schemas.microsoft.com/office/drawing/2014/chart" uri="{C3380CC4-5D6E-409C-BE32-E72D297353CC}">
              <c16:uniqueId val="{0000000A-31B4-47B3-BE38-FD73CD4FE8AD}"/>
            </c:ext>
          </c:extLst>
        </c:ser>
        <c:ser>
          <c:idx val="1"/>
          <c:order val="1"/>
          <c:dPt>
            <c:idx val="0"/>
            <c:bubble3D val="0"/>
            <c:spPr>
              <a:solidFill>
                <a:schemeClr val="accent1"/>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C-31B4-47B3-BE38-FD73CD4FE8AD}"/>
              </c:ext>
            </c:extLst>
          </c:dPt>
          <c:dPt>
            <c:idx val="1"/>
            <c:bubble3D val="0"/>
            <c:spPr>
              <a:solidFill>
                <a:schemeClr val="accent2"/>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E-31B4-47B3-BE38-FD73CD4FE8AD}"/>
              </c:ext>
            </c:extLst>
          </c:dPt>
          <c:dPt>
            <c:idx val="2"/>
            <c:bubble3D val="0"/>
            <c:spPr>
              <a:solidFill>
                <a:schemeClr val="accent3"/>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10-31B4-47B3-BE38-FD73CD4FE8AD}"/>
              </c:ext>
            </c:extLst>
          </c:dPt>
          <c:dPt>
            <c:idx val="3"/>
            <c:bubble3D val="0"/>
            <c:spPr>
              <a:solidFill>
                <a:schemeClr val="accent4"/>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12-31B4-47B3-BE38-FD73CD4FE8AD}"/>
              </c:ext>
            </c:extLst>
          </c:dPt>
          <c:dPt>
            <c:idx val="4"/>
            <c:bubble3D val="0"/>
            <c:spPr>
              <a:solidFill>
                <a:schemeClr val="accent5"/>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14-31B4-47B3-BE38-FD73CD4FE8AD}"/>
              </c:ext>
            </c:extLst>
          </c:dPt>
          <c:dLbls>
            <c:spPr>
              <a:pattFill prst="pct75">
                <a:fgClr>
                  <a:schemeClr val="dk1">
                    <a:lumMod val="75000"/>
                    <a:lumOff val="25000"/>
                  </a:schemeClr>
                </a:fgClr>
                <a:bgClr>
                  <a:schemeClr val="dk1">
                    <a:lumMod val="65000"/>
                    <a:lumOff val="35000"/>
                  </a:schemeClr>
                </a:bgClr>
              </a:patt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lt1"/>
                    </a:solidFill>
                    <a:latin typeface="+mn-lt"/>
                    <a:ea typeface="+mn-ea"/>
                    <a:cs typeface="+mn-cs"/>
                  </a:defRPr>
                </a:pPr>
                <a:endParaRPr lang="en-US"/>
              </a:p>
            </c:txPr>
            <c:dLblPos val="ctr"/>
            <c:showLegendKey val="0"/>
            <c:showVal val="0"/>
            <c:showCatName val="0"/>
            <c:showSerName val="0"/>
            <c:showPercent val="1"/>
            <c:showBubbleSize val="0"/>
            <c:showLeaderLines val="1"/>
            <c:leaderLines>
              <c:spPr>
                <a:ln w="9525">
                  <a:solidFill>
                    <a:schemeClr val="dk1">
                      <a:lumMod val="50000"/>
                      <a:lumOff val="50000"/>
                    </a:schemeClr>
                  </a:solidFill>
                </a:ln>
                <a:effectLst/>
              </c:spPr>
            </c:leaderLines>
            <c:extLst>
              <c:ext xmlns:c15="http://schemas.microsoft.com/office/drawing/2012/chart" uri="{CE6537A1-D6FC-4f65-9D91-7224C49458BB}"/>
            </c:extLst>
          </c:dLbls>
          <c:cat>
            <c:strRef>
              <c:f>Sheet2!$A$17:$A$21</c:f>
              <c:strCache>
                <c:ptCount val="5"/>
                <c:pt idx="0">
                  <c:v>Religion</c:v>
                </c:pt>
                <c:pt idx="1">
                  <c:v>Christian</c:v>
                </c:pt>
                <c:pt idx="2">
                  <c:v>Irreligious</c:v>
                </c:pt>
                <c:pt idx="3">
                  <c:v>Other</c:v>
                </c:pt>
                <c:pt idx="4">
                  <c:v>Unknown</c:v>
                </c:pt>
              </c:strCache>
            </c:strRef>
          </c:cat>
          <c:val>
            <c:numRef>
              <c:f>Sheet2!$C$17:$C$21</c:f>
              <c:numCache>
                <c:formatCode>General</c:formatCode>
                <c:ptCount val="5"/>
              </c:numCache>
            </c:numRef>
          </c:val>
          <c:extLst>
            <c:ext xmlns:c16="http://schemas.microsoft.com/office/drawing/2014/chart" uri="{C3380CC4-5D6E-409C-BE32-E72D297353CC}">
              <c16:uniqueId val="{00000015-31B4-47B3-BE38-FD73CD4FE8AD}"/>
            </c:ext>
          </c:extLst>
        </c:ser>
        <c:ser>
          <c:idx val="2"/>
          <c:order val="2"/>
          <c:dPt>
            <c:idx val="0"/>
            <c:bubble3D val="0"/>
            <c:spPr>
              <a:solidFill>
                <a:schemeClr val="accent1"/>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17-31B4-47B3-BE38-FD73CD4FE8AD}"/>
              </c:ext>
            </c:extLst>
          </c:dPt>
          <c:dPt>
            <c:idx val="1"/>
            <c:bubble3D val="0"/>
            <c:spPr>
              <a:solidFill>
                <a:schemeClr val="accent2"/>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19-31B4-47B3-BE38-FD73CD4FE8AD}"/>
              </c:ext>
            </c:extLst>
          </c:dPt>
          <c:dPt>
            <c:idx val="2"/>
            <c:bubble3D val="0"/>
            <c:spPr>
              <a:solidFill>
                <a:schemeClr val="accent3"/>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1B-31B4-47B3-BE38-FD73CD4FE8AD}"/>
              </c:ext>
            </c:extLst>
          </c:dPt>
          <c:dPt>
            <c:idx val="3"/>
            <c:bubble3D val="0"/>
            <c:spPr>
              <a:solidFill>
                <a:schemeClr val="accent4"/>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1D-31B4-47B3-BE38-FD73CD4FE8AD}"/>
              </c:ext>
            </c:extLst>
          </c:dPt>
          <c:dPt>
            <c:idx val="4"/>
            <c:bubble3D val="0"/>
            <c:spPr>
              <a:solidFill>
                <a:schemeClr val="accent5"/>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1F-31B4-47B3-BE38-FD73CD4FE8AD}"/>
              </c:ext>
            </c:extLst>
          </c:dPt>
          <c:dLbls>
            <c:spPr>
              <a:pattFill prst="pct75">
                <a:fgClr>
                  <a:schemeClr val="dk1">
                    <a:lumMod val="75000"/>
                    <a:lumOff val="25000"/>
                  </a:schemeClr>
                </a:fgClr>
                <a:bgClr>
                  <a:schemeClr val="dk1">
                    <a:lumMod val="65000"/>
                    <a:lumOff val="35000"/>
                  </a:schemeClr>
                </a:bgClr>
              </a:patt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lt1"/>
                    </a:solidFill>
                    <a:latin typeface="+mn-lt"/>
                    <a:ea typeface="+mn-ea"/>
                    <a:cs typeface="+mn-cs"/>
                  </a:defRPr>
                </a:pPr>
                <a:endParaRPr lang="en-US"/>
              </a:p>
            </c:txPr>
            <c:dLblPos val="ctr"/>
            <c:showLegendKey val="0"/>
            <c:showVal val="0"/>
            <c:showCatName val="0"/>
            <c:showSerName val="0"/>
            <c:showPercent val="1"/>
            <c:showBubbleSize val="0"/>
            <c:showLeaderLines val="1"/>
            <c:leaderLines>
              <c:spPr>
                <a:ln w="9525">
                  <a:solidFill>
                    <a:schemeClr val="dk1">
                      <a:lumMod val="50000"/>
                      <a:lumOff val="50000"/>
                    </a:schemeClr>
                  </a:solidFill>
                </a:ln>
                <a:effectLst/>
              </c:spPr>
            </c:leaderLines>
            <c:extLst>
              <c:ext xmlns:c15="http://schemas.microsoft.com/office/drawing/2012/chart" uri="{CE6537A1-D6FC-4f65-9D91-7224C49458BB}"/>
            </c:extLst>
          </c:dLbls>
          <c:cat>
            <c:strRef>
              <c:f>Sheet2!$A$17:$A$21</c:f>
              <c:strCache>
                <c:ptCount val="5"/>
                <c:pt idx="0">
                  <c:v>Religion</c:v>
                </c:pt>
                <c:pt idx="1">
                  <c:v>Christian</c:v>
                </c:pt>
                <c:pt idx="2">
                  <c:v>Irreligious</c:v>
                </c:pt>
                <c:pt idx="3">
                  <c:v>Other</c:v>
                </c:pt>
                <c:pt idx="4">
                  <c:v>Unknown</c:v>
                </c:pt>
              </c:strCache>
            </c:strRef>
          </c:cat>
          <c:val>
            <c:numRef>
              <c:f>Sheet2!$D$17:$D$21</c:f>
              <c:numCache>
                <c:formatCode>0.0%</c:formatCode>
                <c:ptCount val="5"/>
                <c:pt idx="1">
                  <c:v>4.7388300780279308E-2</c:v>
                </c:pt>
                <c:pt idx="2">
                  <c:v>3.3298543809949805E-3</c:v>
                </c:pt>
                <c:pt idx="3">
                  <c:v>3.4292530192336365E-3</c:v>
                </c:pt>
                <c:pt idx="4">
                  <c:v>0.94585259181949211</c:v>
                </c:pt>
              </c:numCache>
            </c:numRef>
          </c:val>
          <c:extLst>
            <c:ext xmlns:c16="http://schemas.microsoft.com/office/drawing/2014/chart" uri="{C3380CC4-5D6E-409C-BE32-E72D297353CC}">
              <c16:uniqueId val="{00000020-31B4-47B3-BE38-FD73CD4FE8AD}"/>
            </c:ext>
          </c:extLst>
        </c:ser>
        <c:dLbls>
          <c:dLblPos val="ctr"/>
          <c:showLegendKey val="0"/>
          <c:showVal val="0"/>
          <c:showCatName val="0"/>
          <c:showSerName val="0"/>
          <c:showPercent val="1"/>
          <c:showBubbleSize val="0"/>
          <c:showLeaderLines val="1"/>
        </c:dLbls>
        <c:firstSliceAng val="0"/>
      </c:pieChart>
      <c:spPr>
        <a:noFill/>
        <a:ln>
          <a:noFill/>
        </a:ln>
        <a:effectLst/>
      </c:spPr>
    </c:plotArea>
    <c:legend>
      <c:legendPos val="r"/>
      <c:overlay val="0"/>
      <c:spPr>
        <a:solidFill>
          <a:schemeClr val="lt1">
            <a:lumMod val="95000"/>
            <a:alpha val="39000"/>
          </a:schemeClr>
        </a:solidFill>
        <a:ln>
          <a:noFill/>
        </a:ln>
        <a:effectLst/>
      </c:spPr>
      <c:txPr>
        <a:bodyPr rot="0" spcFirstLastPara="1" vertOverflow="ellipsis" vert="horz" wrap="square" anchor="ctr" anchorCtr="1"/>
        <a:lstStyle/>
        <a:p>
          <a:pPr>
            <a:defRPr sz="900" b="0" i="0" u="none" strike="noStrike" kern="1200" baseline="0">
              <a:solidFill>
                <a:schemeClr val="dk1">
                  <a:lumMod val="75000"/>
                  <a:lumOff val="2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spc="100" baseline="0">
                <a:solidFill>
                  <a:schemeClr val="lt1">
                    <a:lumMod val="95000"/>
                  </a:schemeClr>
                </a:solidFill>
                <a:effectLst>
                  <a:outerShdw blurRad="50800" dist="38100" dir="5400000" algn="t" rotWithShape="0">
                    <a:prstClr val="black">
                      <a:alpha val="40000"/>
                    </a:prstClr>
                  </a:outerShdw>
                </a:effectLst>
                <a:latin typeface="+mj-lt"/>
                <a:ea typeface="+mn-ea"/>
                <a:cs typeface="+mn-cs"/>
              </a:defRPr>
            </a:pPr>
            <a:r>
              <a:rPr lang="en-US"/>
              <a:t>Size and Counts in Two Populations</a:t>
            </a:r>
          </a:p>
        </c:rich>
      </c:tx>
      <c:overlay val="0"/>
      <c:spPr>
        <a:noFill/>
        <a:ln>
          <a:noFill/>
        </a:ln>
        <a:effectLst/>
      </c:spPr>
      <c:txPr>
        <a:bodyPr rot="0" spcFirstLastPara="1" vertOverflow="ellipsis" vert="horz" wrap="square" anchor="ctr" anchorCtr="1"/>
        <a:lstStyle/>
        <a:p>
          <a:pPr>
            <a:defRPr sz="2128" b="1" i="0" u="none" strike="noStrike" kern="1200" spc="100" baseline="0">
              <a:solidFill>
                <a:schemeClr val="lt1">
                  <a:lumMod val="95000"/>
                </a:schemeClr>
              </a:solidFill>
              <a:effectLst>
                <a:outerShdw blurRad="50800" dist="38100" dir="5400000" algn="t" rotWithShape="0">
                  <a:prstClr val="black">
                    <a:alpha val="40000"/>
                  </a:prstClr>
                </a:outerShdw>
              </a:effectLst>
              <a:latin typeface="+mj-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Size</c:v>
                </c:pt>
              </c:strCache>
            </c:strRef>
          </c:tx>
          <c:spPr>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cat>
            <c:strRef>
              <c:f>Sheet1!$A$2:$A$3</c:f>
              <c:strCache>
                <c:ptCount val="2"/>
                <c:pt idx="0">
                  <c:v>Non-Marginalized</c:v>
                </c:pt>
                <c:pt idx="1">
                  <c:v>Marginalized</c:v>
                </c:pt>
              </c:strCache>
            </c:strRef>
          </c:cat>
          <c:val>
            <c:numRef>
              <c:f>Sheet1!$B$2:$B$3</c:f>
              <c:numCache>
                <c:formatCode>General</c:formatCode>
                <c:ptCount val="2"/>
                <c:pt idx="0">
                  <c:v>100</c:v>
                </c:pt>
                <c:pt idx="1">
                  <c:v>50</c:v>
                </c:pt>
              </c:numCache>
            </c:numRef>
          </c:val>
          <c:extLst>
            <c:ext xmlns:c16="http://schemas.microsoft.com/office/drawing/2014/chart" uri="{C3380CC4-5D6E-409C-BE32-E72D297353CC}">
              <c16:uniqueId val="{00000000-E745-4D26-A693-972A519721C7}"/>
            </c:ext>
          </c:extLst>
        </c:ser>
        <c:ser>
          <c:idx val="1"/>
          <c:order val="1"/>
          <c:tx>
            <c:strRef>
              <c:f>Sheet1!$C$1</c:f>
              <c:strCache>
                <c:ptCount val="1"/>
                <c:pt idx="0">
                  <c:v>Count</c:v>
                </c:pt>
              </c:strCache>
            </c:strRef>
          </c:tx>
          <c:spPr>
            <a:gradFill rotWithShape="1">
              <a:gsLst>
                <a:gs pos="0">
                  <a:schemeClr val="accent2">
                    <a:shade val="51000"/>
                    <a:satMod val="130000"/>
                  </a:schemeClr>
                </a:gs>
                <a:gs pos="80000">
                  <a:schemeClr val="accent2">
                    <a:shade val="93000"/>
                    <a:satMod val="130000"/>
                  </a:schemeClr>
                </a:gs>
                <a:gs pos="100000">
                  <a:schemeClr val="accent2">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cat>
            <c:strRef>
              <c:f>Sheet1!$A$2:$A$3</c:f>
              <c:strCache>
                <c:ptCount val="2"/>
                <c:pt idx="0">
                  <c:v>Non-Marginalized</c:v>
                </c:pt>
                <c:pt idx="1">
                  <c:v>Marginalized</c:v>
                </c:pt>
              </c:strCache>
            </c:strRef>
          </c:cat>
          <c:val>
            <c:numRef>
              <c:f>Sheet1!$C$2:$C$3</c:f>
              <c:numCache>
                <c:formatCode>General</c:formatCode>
                <c:ptCount val="2"/>
                <c:pt idx="0">
                  <c:v>100</c:v>
                </c:pt>
                <c:pt idx="1">
                  <c:v>100</c:v>
                </c:pt>
              </c:numCache>
            </c:numRef>
          </c:val>
          <c:extLst>
            <c:ext xmlns:c16="http://schemas.microsoft.com/office/drawing/2014/chart" uri="{C3380CC4-5D6E-409C-BE32-E72D297353CC}">
              <c16:uniqueId val="{00000001-E745-4D26-A693-972A519721C7}"/>
            </c:ext>
          </c:extLst>
        </c:ser>
        <c:dLbls>
          <c:showLegendKey val="0"/>
          <c:showVal val="0"/>
          <c:showCatName val="0"/>
          <c:showSerName val="0"/>
          <c:showPercent val="0"/>
          <c:showBubbleSize val="0"/>
        </c:dLbls>
        <c:gapWidth val="100"/>
        <c:overlap val="-24"/>
        <c:axId val="831001696"/>
        <c:axId val="830989632"/>
      </c:barChart>
      <c:catAx>
        <c:axId val="831001696"/>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1197" b="0" i="0" u="none" strike="noStrike" kern="1200" baseline="0">
                <a:solidFill>
                  <a:schemeClr val="lt1">
                    <a:lumMod val="85000"/>
                  </a:schemeClr>
                </a:solidFill>
                <a:latin typeface="+mj-lt"/>
                <a:ea typeface="+mn-ea"/>
                <a:cs typeface="+mn-cs"/>
              </a:defRPr>
            </a:pPr>
            <a:endParaRPr lang="en-US"/>
          </a:p>
        </c:txPr>
        <c:crossAx val="830989632"/>
        <c:crosses val="autoZero"/>
        <c:auto val="1"/>
        <c:lblAlgn val="ctr"/>
        <c:lblOffset val="100"/>
        <c:noMultiLvlLbl val="0"/>
      </c:catAx>
      <c:valAx>
        <c:axId val="830989632"/>
        <c:scaling>
          <c:orientation val="minMax"/>
          <c:max val="100"/>
        </c:scaling>
        <c:delete val="0"/>
        <c:axPos val="l"/>
        <c:majorGridlines>
          <c:spPr>
            <a:ln w="9525" cap="flat" cmpd="sng" algn="ctr">
              <a:solidFill>
                <a:schemeClr val="lt1">
                  <a:lumMod val="95000"/>
                  <a:alpha val="10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lt1">
                    <a:lumMod val="85000"/>
                  </a:schemeClr>
                </a:solidFill>
                <a:latin typeface="+mj-lt"/>
                <a:ea typeface="+mn-ea"/>
                <a:cs typeface="+mn-cs"/>
              </a:defRPr>
            </a:pPr>
            <a:endParaRPr lang="en-US"/>
          </a:p>
        </c:txPr>
        <c:crossAx val="83100169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lt1">
                  <a:lumMod val="85000"/>
                </a:schemeClr>
              </a:solidFill>
              <a:latin typeface="+mj-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latin typeface="+mj-lt"/>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cap="none" spc="20" baseline="0">
                <a:solidFill>
                  <a:schemeClr val="tx1">
                    <a:lumMod val="50000"/>
                    <a:lumOff val="50000"/>
                  </a:schemeClr>
                </a:solidFill>
                <a:latin typeface="+mn-lt"/>
                <a:ea typeface="+mn-ea"/>
                <a:cs typeface="+mn-cs"/>
              </a:defRPr>
            </a:pPr>
            <a:r>
              <a:rPr lang="en-US"/>
              <a:t>Size (MB) by Race</a:t>
            </a:r>
          </a:p>
        </c:rich>
      </c:tx>
      <c:overlay val="0"/>
      <c:spPr>
        <a:noFill/>
        <a:ln>
          <a:noFill/>
        </a:ln>
        <a:effectLst/>
      </c:spPr>
      <c:txPr>
        <a:bodyPr rot="0" spcFirstLastPara="1" vertOverflow="ellipsis" vert="horz" wrap="square" anchor="ctr" anchorCtr="1"/>
        <a:lstStyle/>
        <a:p>
          <a:pPr>
            <a:defRPr sz="1862" b="0" i="0" u="none" strike="noStrike" kern="1200" cap="none" spc="20" baseline="0">
              <a:solidFill>
                <a:schemeClr val="tx1">
                  <a:lumMod val="50000"/>
                  <a:lumOff val="50000"/>
                </a:schemeClr>
              </a:solidFill>
              <a:latin typeface="+mn-lt"/>
              <a:ea typeface="+mn-ea"/>
              <a:cs typeface="+mn-cs"/>
            </a:defRPr>
          </a:pPr>
          <a:endParaRPr lang="en-US"/>
        </a:p>
      </c:txPr>
    </c:title>
    <c:autoTitleDeleted val="0"/>
    <c:plotArea>
      <c:layout/>
      <c:barChart>
        <c:barDir val="col"/>
        <c:grouping val="clustered"/>
        <c:varyColors val="0"/>
        <c:ser>
          <c:idx val="0"/>
          <c:order val="0"/>
          <c:tx>
            <c:strRef>
              <c:f>Size!$M$31</c:f>
              <c:strCache>
                <c:ptCount val="1"/>
                <c:pt idx="0">
                  <c:v>File Size (MB)</c:v>
                </c:pt>
              </c:strCache>
            </c:strRef>
          </c:tx>
          <c:spPr>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chemeClr>
              </a:solidFill>
              <a:round/>
            </a:ln>
            <a:effectLst>
              <a:outerShdw blurRad="40000" dist="20000" dir="5400000" rotWithShape="0">
                <a:srgbClr val="000000">
                  <a:alpha val="38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ize!$J$32:$J$36</c:f>
              <c:strCache>
                <c:ptCount val="5"/>
                <c:pt idx="0">
                  <c:v>Other (1148)</c:v>
                </c:pt>
                <c:pt idx="1">
                  <c:v>Unknown (8434)</c:v>
                </c:pt>
                <c:pt idx="2">
                  <c:v>Asian (361)</c:v>
                </c:pt>
                <c:pt idx="3">
                  <c:v>Black or African American (2335)</c:v>
                </c:pt>
                <c:pt idx="4">
                  <c:v>White (27964)</c:v>
                </c:pt>
              </c:strCache>
            </c:strRef>
          </c:cat>
          <c:val>
            <c:numRef>
              <c:f>Size!$M$32:$M$36</c:f>
              <c:numCache>
                <c:formatCode>0.00</c:formatCode>
                <c:ptCount val="5"/>
                <c:pt idx="0">
                  <c:v>0.38292231881533123</c:v>
                </c:pt>
                <c:pt idx="1">
                  <c:v>0.59805554600426691</c:v>
                </c:pt>
                <c:pt idx="2">
                  <c:v>0.61564378947368403</c:v>
                </c:pt>
                <c:pt idx="3">
                  <c:v>0.85749888565310439</c:v>
                </c:pt>
                <c:pt idx="4">
                  <c:v>0.82307687623373327</c:v>
                </c:pt>
              </c:numCache>
            </c:numRef>
          </c:val>
          <c:extLst>
            <c:ext xmlns:c16="http://schemas.microsoft.com/office/drawing/2014/chart" uri="{C3380CC4-5D6E-409C-BE32-E72D297353CC}">
              <c16:uniqueId val="{00000000-D961-2948-BA3C-675E94BD07B0}"/>
            </c:ext>
          </c:extLst>
        </c:ser>
        <c:dLbls>
          <c:dLblPos val="outEnd"/>
          <c:showLegendKey val="0"/>
          <c:showVal val="1"/>
          <c:showCatName val="0"/>
          <c:showSerName val="0"/>
          <c:showPercent val="0"/>
          <c:showBubbleSize val="0"/>
        </c:dLbls>
        <c:gapWidth val="100"/>
        <c:overlap val="-24"/>
        <c:axId val="1399688319"/>
        <c:axId val="1399684271"/>
      </c:barChart>
      <c:catAx>
        <c:axId val="1399688319"/>
        <c:scaling>
          <c:orientation val="minMax"/>
        </c:scaling>
        <c:delete val="0"/>
        <c:axPos val="b"/>
        <c:title>
          <c:tx>
            <c:rich>
              <a:bodyPr rot="0" spcFirstLastPara="1" vertOverflow="ellipsis" vert="horz" wrap="square" anchor="ctr" anchorCtr="1"/>
              <a:lstStyle/>
              <a:p>
                <a:pPr>
                  <a:defRPr sz="1197" b="0" i="0" u="none" strike="noStrike" kern="1200" cap="all" baseline="0">
                    <a:solidFill>
                      <a:schemeClr val="tx1">
                        <a:lumMod val="50000"/>
                        <a:lumOff val="50000"/>
                      </a:schemeClr>
                    </a:solidFill>
                    <a:latin typeface="+mn-lt"/>
                    <a:ea typeface="+mn-ea"/>
                    <a:cs typeface="+mn-cs"/>
                  </a:defRPr>
                </a:pPr>
                <a:r>
                  <a:rPr lang="en-US"/>
                  <a:t>Race</a:t>
                </a:r>
              </a:p>
            </c:rich>
          </c:tx>
          <c:overlay val="0"/>
          <c:spPr>
            <a:noFill/>
            <a:ln>
              <a:noFill/>
            </a:ln>
            <a:effectLst/>
          </c:spPr>
          <c:txPr>
            <a:bodyPr rot="0" spcFirstLastPara="1" vertOverflow="ellipsis" vert="horz" wrap="square" anchor="ctr" anchorCtr="1"/>
            <a:lstStyle/>
            <a:p>
              <a:pPr>
                <a:defRPr sz="1197" b="0" i="0" u="none" strike="noStrike" kern="1200" cap="all" baseline="0">
                  <a:solidFill>
                    <a:schemeClr val="tx1">
                      <a:lumMod val="50000"/>
                      <a:lumOff val="50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50000"/>
                    <a:lumOff val="50000"/>
                  </a:schemeClr>
                </a:solidFill>
                <a:latin typeface="+mn-lt"/>
                <a:ea typeface="+mn-ea"/>
                <a:cs typeface="+mn-cs"/>
              </a:defRPr>
            </a:pPr>
            <a:endParaRPr lang="en-US"/>
          </a:p>
        </c:txPr>
        <c:crossAx val="1399684271"/>
        <c:crosses val="autoZero"/>
        <c:auto val="1"/>
        <c:lblAlgn val="ctr"/>
        <c:lblOffset val="100"/>
        <c:noMultiLvlLbl val="0"/>
      </c:catAx>
      <c:valAx>
        <c:axId val="1399684271"/>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197" b="0" i="0" u="none" strike="noStrike" kern="1200" cap="all" baseline="0">
                    <a:solidFill>
                      <a:schemeClr val="tx1">
                        <a:lumMod val="50000"/>
                        <a:lumOff val="50000"/>
                      </a:schemeClr>
                    </a:solidFill>
                    <a:latin typeface="+mn-lt"/>
                    <a:ea typeface="+mn-ea"/>
                    <a:cs typeface="+mn-cs"/>
                  </a:defRPr>
                </a:pPr>
                <a:r>
                  <a:rPr lang="en-US"/>
                  <a:t>Size (MB)</a:t>
                </a:r>
              </a:p>
            </c:rich>
          </c:tx>
          <c:overlay val="0"/>
          <c:spPr>
            <a:noFill/>
            <a:ln>
              <a:noFill/>
            </a:ln>
            <a:effectLst/>
          </c:spPr>
          <c:txPr>
            <a:bodyPr rot="-5400000" spcFirstLastPara="1" vertOverflow="ellipsis" vert="horz" wrap="square" anchor="ctr" anchorCtr="1"/>
            <a:lstStyle/>
            <a:p>
              <a:pPr>
                <a:defRPr sz="1197" b="0" i="0" u="none" strike="noStrike" kern="1200" cap="all" baseline="0">
                  <a:solidFill>
                    <a:schemeClr val="tx1">
                      <a:lumMod val="50000"/>
                      <a:lumOff val="50000"/>
                    </a:schemeClr>
                  </a:solidFill>
                  <a:latin typeface="+mn-lt"/>
                  <a:ea typeface="+mn-ea"/>
                  <a:cs typeface="+mn-cs"/>
                </a:defRPr>
              </a:pPr>
              <a:endParaRPr lang="en-US"/>
            </a:p>
          </c:txPr>
        </c:title>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50000"/>
                    <a:lumOff val="50000"/>
                  </a:schemeClr>
                </a:solidFill>
                <a:latin typeface="+mn-lt"/>
                <a:ea typeface="+mn-ea"/>
                <a:cs typeface="+mn-cs"/>
              </a:defRPr>
            </a:pPr>
            <a:endParaRPr lang="en-US"/>
          </a:p>
        </c:txPr>
        <c:crossAx val="1399688319"/>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50000"/>
                  <a:lumOff val="50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cap="none" spc="20" baseline="0">
                <a:solidFill>
                  <a:schemeClr val="tx1">
                    <a:lumMod val="50000"/>
                    <a:lumOff val="50000"/>
                  </a:schemeClr>
                </a:solidFill>
                <a:latin typeface="+mj-lt"/>
                <a:ea typeface="+mn-ea"/>
                <a:cs typeface="+mn-cs"/>
              </a:defRPr>
            </a:pPr>
            <a:r>
              <a:rPr lang="en-US"/>
              <a:t>Violations/size (MB) by Race</a:t>
            </a:r>
          </a:p>
        </c:rich>
      </c:tx>
      <c:overlay val="0"/>
      <c:spPr>
        <a:noFill/>
        <a:ln>
          <a:noFill/>
        </a:ln>
        <a:effectLst/>
      </c:spPr>
      <c:txPr>
        <a:bodyPr rot="0" spcFirstLastPara="1" vertOverflow="ellipsis" vert="horz" wrap="square" anchor="ctr" anchorCtr="1"/>
        <a:lstStyle/>
        <a:p>
          <a:pPr>
            <a:defRPr sz="1862" b="0" i="0" u="none" strike="noStrike" kern="1200" cap="none" spc="20" baseline="0">
              <a:solidFill>
                <a:schemeClr val="tx1">
                  <a:lumMod val="50000"/>
                  <a:lumOff val="50000"/>
                </a:schemeClr>
              </a:solidFill>
              <a:latin typeface="+mj-lt"/>
              <a:ea typeface="+mn-ea"/>
              <a:cs typeface="+mn-cs"/>
            </a:defRPr>
          </a:pPr>
          <a:endParaRPr lang="en-US"/>
        </a:p>
      </c:txPr>
    </c:title>
    <c:autoTitleDeleted val="0"/>
    <c:plotArea>
      <c:layout/>
      <c:barChart>
        <c:barDir val="col"/>
        <c:grouping val="clustered"/>
        <c:varyColors val="0"/>
        <c:ser>
          <c:idx val="0"/>
          <c:order val="0"/>
          <c:tx>
            <c:strRef>
              <c:f>Graphs_Abstract_Median!$K$31</c:f>
              <c:strCache>
                <c:ptCount val="1"/>
                <c:pt idx="0">
                  <c:v>completeness violations/size (MB)</c:v>
                </c:pt>
              </c:strCache>
            </c:strRef>
          </c:tx>
          <c:spPr>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chemeClr>
              </a:solidFill>
              <a:round/>
            </a:ln>
            <a:effectLst>
              <a:outerShdw blurRad="40000" dist="20000" dir="5400000" rotWithShape="0">
                <a:srgbClr val="000000">
                  <a:alpha val="38000"/>
                </a:srgbClr>
              </a:outerShdw>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tx1">
                        <a:lumMod val="50000"/>
                        <a:lumOff val="50000"/>
                      </a:schemeClr>
                    </a:solidFill>
                    <a:latin typeface="+mj-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Graphs_Abstract_Median!$J$32:$J$36</c:f>
              <c:strCache>
                <c:ptCount val="5"/>
                <c:pt idx="0">
                  <c:v>Other (1148)</c:v>
                </c:pt>
                <c:pt idx="1">
                  <c:v>Unknown (8434)</c:v>
                </c:pt>
                <c:pt idx="2">
                  <c:v>Asian (361)</c:v>
                </c:pt>
                <c:pt idx="3">
                  <c:v>Black or African American (2335)</c:v>
                </c:pt>
                <c:pt idx="4">
                  <c:v>White (27964)</c:v>
                </c:pt>
              </c:strCache>
            </c:strRef>
          </c:cat>
          <c:val>
            <c:numRef>
              <c:f>Graphs_Abstract_Median!$K$32:$K$36</c:f>
              <c:numCache>
                <c:formatCode>0.00</c:formatCode>
                <c:ptCount val="5"/>
                <c:pt idx="0">
                  <c:v>89.306336114645205</c:v>
                </c:pt>
                <c:pt idx="1">
                  <c:v>81.859466430766716</c:v>
                </c:pt>
                <c:pt idx="2">
                  <c:v>60.158999906434566</c:v>
                </c:pt>
                <c:pt idx="3">
                  <c:v>60.009067514717977</c:v>
                </c:pt>
                <c:pt idx="4">
                  <c:v>52.068240736737216</c:v>
                </c:pt>
              </c:numCache>
            </c:numRef>
          </c:val>
          <c:extLst>
            <c:ext xmlns:c16="http://schemas.microsoft.com/office/drawing/2014/chart" uri="{C3380CC4-5D6E-409C-BE32-E72D297353CC}">
              <c16:uniqueId val="{00000000-2AC5-9940-A7DE-3BF7856CE377}"/>
            </c:ext>
          </c:extLst>
        </c:ser>
        <c:ser>
          <c:idx val="1"/>
          <c:order val="1"/>
          <c:tx>
            <c:strRef>
              <c:f>Graphs_Abstract_Median!$L$31</c:f>
              <c:strCache>
                <c:ptCount val="1"/>
                <c:pt idx="0">
                  <c:v>syntax violations/size (MB)</c:v>
                </c:pt>
              </c:strCache>
            </c:strRef>
          </c:tx>
          <c:spPr>
            <a:gradFill rotWithShape="1">
              <a:gsLst>
                <a:gs pos="0">
                  <a:schemeClr val="accent2">
                    <a:tint val="50000"/>
                    <a:satMod val="300000"/>
                  </a:schemeClr>
                </a:gs>
                <a:gs pos="35000">
                  <a:schemeClr val="accent2">
                    <a:tint val="37000"/>
                    <a:satMod val="300000"/>
                  </a:schemeClr>
                </a:gs>
                <a:gs pos="100000">
                  <a:schemeClr val="accent2">
                    <a:tint val="15000"/>
                    <a:satMod val="350000"/>
                  </a:schemeClr>
                </a:gs>
              </a:gsLst>
              <a:lin ang="16200000" scaled="1"/>
            </a:gradFill>
            <a:ln w="9525" cap="flat" cmpd="sng" algn="ctr">
              <a:solidFill>
                <a:schemeClr val="accent2">
                  <a:shade val="95000"/>
                </a:schemeClr>
              </a:solidFill>
              <a:round/>
            </a:ln>
            <a:effectLst>
              <a:outerShdw blurRad="40000" dist="20000" dir="5400000" rotWithShape="0">
                <a:srgbClr val="000000">
                  <a:alpha val="38000"/>
                </a:srgbClr>
              </a:outerShdw>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tx1">
                        <a:lumMod val="50000"/>
                        <a:lumOff val="50000"/>
                      </a:schemeClr>
                    </a:solidFill>
                    <a:latin typeface="+mj-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Graphs_Abstract_Median!$J$32:$J$36</c:f>
              <c:strCache>
                <c:ptCount val="5"/>
                <c:pt idx="0">
                  <c:v>Other (1148)</c:v>
                </c:pt>
                <c:pt idx="1">
                  <c:v>Unknown (8434)</c:v>
                </c:pt>
                <c:pt idx="2">
                  <c:v>Asian (361)</c:v>
                </c:pt>
                <c:pt idx="3">
                  <c:v>Black or African American (2335)</c:v>
                </c:pt>
                <c:pt idx="4">
                  <c:v>White (27964)</c:v>
                </c:pt>
              </c:strCache>
            </c:strRef>
          </c:cat>
          <c:val>
            <c:numRef>
              <c:f>Graphs_Abstract_Median!$L$32:$L$36</c:f>
              <c:numCache>
                <c:formatCode>0.00</c:formatCode>
                <c:ptCount val="5"/>
                <c:pt idx="0">
                  <c:v>67.30732502549354</c:v>
                </c:pt>
                <c:pt idx="1">
                  <c:v>41.836252341019105</c:v>
                </c:pt>
                <c:pt idx="2">
                  <c:v>39.354039789369111</c:v>
                </c:pt>
                <c:pt idx="3">
                  <c:v>41.942776695172824</c:v>
                </c:pt>
                <c:pt idx="4">
                  <c:v>34.831043532012515</c:v>
                </c:pt>
              </c:numCache>
            </c:numRef>
          </c:val>
          <c:extLst>
            <c:ext xmlns:c16="http://schemas.microsoft.com/office/drawing/2014/chart" uri="{C3380CC4-5D6E-409C-BE32-E72D297353CC}">
              <c16:uniqueId val="{00000001-2AC5-9940-A7DE-3BF7856CE377}"/>
            </c:ext>
          </c:extLst>
        </c:ser>
        <c:dLbls>
          <c:dLblPos val="outEnd"/>
          <c:showLegendKey val="0"/>
          <c:showVal val="1"/>
          <c:showCatName val="0"/>
          <c:showSerName val="0"/>
          <c:showPercent val="0"/>
          <c:showBubbleSize val="0"/>
        </c:dLbls>
        <c:gapWidth val="100"/>
        <c:overlap val="-24"/>
        <c:axId val="1651202767"/>
        <c:axId val="722380607"/>
      </c:barChart>
      <c:catAx>
        <c:axId val="1651202767"/>
        <c:scaling>
          <c:orientation val="minMax"/>
        </c:scaling>
        <c:delete val="0"/>
        <c:axPos val="b"/>
        <c:title>
          <c:tx>
            <c:rich>
              <a:bodyPr rot="0" spcFirstLastPara="1" vertOverflow="ellipsis" vert="horz" wrap="square" anchor="ctr" anchorCtr="1"/>
              <a:lstStyle/>
              <a:p>
                <a:pPr>
                  <a:defRPr sz="1197" b="0" i="0" u="none" strike="noStrike" kern="1200" cap="all" baseline="0">
                    <a:solidFill>
                      <a:schemeClr val="tx1">
                        <a:lumMod val="50000"/>
                        <a:lumOff val="50000"/>
                      </a:schemeClr>
                    </a:solidFill>
                    <a:latin typeface="+mj-lt"/>
                    <a:ea typeface="+mn-ea"/>
                    <a:cs typeface="+mn-cs"/>
                  </a:defRPr>
                </a:pPr>
                <a:r>
                  <a:rPr lang="en-US"/>
                  <a:t>Race</a:t>
                </a:r>
              </a:p>
            </c:rich>
          </c:tx>
          <c:overlay val="0"/>
          <c:spPr>
            <a:noFill/>
            <a:ln>
              <a:noFill/>
            </a:ln>
            <a:effectLst/>
          </c:spPr>
          <c:txPr>
            <a:bodyPr rot="0" spcFirstLastPara="1" vertOverflow="ellipsis" vert="horz" wrap="square" anchor="ctr" anchorCtr="1"/>
            <a:lstStyle/>
            <a:p>
              <a:pPr>
                <a:defRPr sz="1197" b="0" i="0" u="none" strike="noStrike" kern="1200" cap="all" baseline="0">
                  <a:solidFill>
                    <a:schemeClr val="tx1">
                      <a:lumMod val="50000"/>
                      <a:lumOff val="50000"/>
                    </a:schemeClr>
                  </a:solidFill>
                  <a:latin typeface="+mj-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50000"/>
                    <a:lumOff val="50000"/>
                  </a:schemeClr>
                </a:solidFill>
                <a:latin typeface="+mj-lt"/>
                <a:ea typeface="+mn-ea"/>
                <a:cs typeface="+mn-cs"/>
              </a:defRPr>
            </a:pPr>
            <a:endParaRPr lang="en-US"/>
          </a:p>
        </c:txPr>
        <c:crossAx val="722380607"/>
        <c:crosses val="autoZero"/>
        <c:auto val="1"/>
        <c:lblAlgn val="ctr"/>
        <c:lblOffset val="100"/>
        <c:noMultiLvlLbl val="0"/>
      </c:catAx>
      <c:valAx>
        <c:axId val="722380607"/>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197" b="0" i="0" u="none" strike="noStrike" kern="1200" cap="all" baseline="0">
                    <a:solidFill>
                      <a:schemeClr val="tx1">
                        <a:lumMod val="50000"/>
                        <a:lumOff val="50000"/>
                      </a:schemeClr>
                    </a:solidFill>
                    <a:latin typeface="+mj-lt"/>
                    <a:ea typeface="+mn-ea"/>
                    <a:cs typeface="+mn-cs"/>
                  </a:defRPr>
                </a:pPr>
                <a:r>
                  <a:rPr lang="en-US"/>
                  <a:t>Violations/Size (MB)</a:t>
                </a:r>
              </a:p>
            </c:rich>
          </c:tx>
          <c:overlay val="0"/>
          <c:spPr>
            <a:noFill/>
            <a:ln>
              <a:noFill/>
            </a:ln>
            <a:effectLst/>
          </c:spPr>
          <c:txPr>
            <a:bodyPr rot="-5400000" spcFirstLastPara="1" vertOverflow="ellipsis" vert="horz" wrap="square" anchor="ctr" anchorCtr="1"/>
            <a:lstStyle/>
            <a:p>
              <a:pPr>
                <a:defRPr sz="1197" b="0" i="0" u="none" strike="noStrike" kern="1200" cap="all" baseline="0">
                  <a:solidFill>
                    <a:schemeClr val="tx1">
                      <a:lumMod val="50000"/>
                      <a:lumOff val="50000"/>
                    </a:schemeClr>
                  </a:solidFill>
                  <a:latin typeface="+mj-lt"/>
                  <a:ea typeface="+mn-ea"/>
                  <a:cs typeface="+mn-cs"/>
                </a:defRPr>
              </a:pPr>
              <a:endParaRPr lang="en-US"/>
            </a:p>
          </c:txPr>
        </c:title>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50000"/>
                    <a:lumOff val="50000"/>
                  </a:schemeClr>
                </a:solidFill>
                <a:latin typeface="+mj-lt"/>
                <a:ea typeface="+mn-ea"/>
                <a:cs typeface="+mn-cs"/>
              </a:defRPr>
            </a:pPr>
            <a:endParaRPr lang="en-US"/>
          </a:p>
        </c:txPr>
        <c:crossAx val="1651202767"/>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50000"/>
                  <a:lumOff val="50000"/>
                </a:schemeClr>
              </a:solidFill>
              <a:latin typeface="+mj-lt"/>
              <a:ea typeface="+mn-ea"/>
              <a:cs typeface="+mn-cs"/>
            </a:defRPr>
          </a:pPr>
          <a:endParaRPr lang="en-US"/>
        </a:p>
      </c:txPr>
    </c:legend>
    <c:plotVisOnly val="1"/>
    <c:dispBlanksAs val="gap"/>
    <c:showDLblsOverMax val="0"/>
  </c:chart>
  <c:spPr>
    <a:noFill/>
    <a:ln>
      <a:noFill/>
    </a:ln>
    <a:effectLst/>
  </c:spPr>
  <c:txPr>
    <a:bodyPr/>
    <a:lstStyle/>
    <a:p>
      <a:pPr>
        <a:defRPr>
          <a:latin typeface="+mj-lt"/>
        </a:defRPr>
      </a:pPr>
      <a:endParaRPr lang="en-US"/>
    </a:p>
  </c:txPr>
  <c:externalData r:id="rId3">
    <c:autoUpdate val="0"/>
  </c:externalData>
  <c:userShapes r:id="rId4"/>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cap="none" spc="20" baseline="0">
                <a:solidFill>
                  <a:schemeClr val="tx1">
                    <a:lumMod val="50000"/>
                    <a:lumOff val="50000"/>
                  </a:schemeClr>
                </a:solidFill>
                <a:latin typeface="+mj-lt"/>
                <a:ea typeface="+mn-ea"/>
                <a:cs typeface="+mn-cs"/>
              </a:defRPr>
            </a:pPr>
            <a:r>
              <a:rPr lang="en-US">
                <a:latin typeface="+mj-lt"/>
              </a:rPr>
              <a:t>Size (MB) by Race</a:t>
            </a:r>
          </a:p>
        </c:rich>
      </c:tx>
      <c:overlay val="0"/>
      <c:spPr>
        <a:noFill/>
        <a:ln>
          <a:noFill/>
        </a:ln>
        <a:effectLst/>
      </c:spPr>
      <c:txPr>
        <a:bodyPr rot="0" spcFirstLastPara="1" vertOverflow="ellipsis" vert="horz" wrap="square" anchor="ctr" anchorCtr="1"/>
        <a:lstStyle/>
        <a:p>
          <a:pPr>
            <a:defRPr sz="1862" b="0" i="0" u="none" strike="noStrike" kern="1200" cap="none" spc="20" baseline="0">
              <a:solidFill>
                <a:schemeClr val="tx1">
                  <a:lumMod val="50000"/>
                  <a:lumOff val="50000"/>
                </a:schemeClr>
              </a:solidFill>
              <a:latin typeface="+mj-lt"/>
              <a:ea typeface="+mn-ea"/>
              <a:cs typeface="+mn-cs"/>
            </a:defRPr>
          </a:pPr>
          <a:endParaRPr lang="en-US"/>
        </a:p>
      </c:txPr>
    </c:title>
    <c:autoTitleDeleted val="0"/>
    <c:plotArea>
      <c:layout/>
      <c:barChart>
        <c:barDir val="col"/>
        <c:grouping val="clustered"/>
        <c:varyColors val="0"/>
        <c:ser>
          <c:idx val="0"/>
          <c:order val="0"/>
          <c:tx>
            <c:strRef>
              <c:f>Size!$M$31</c:f>
              <c:strCache>
                <c:ptCount val="1"/>
                <c:pt idx="0">
                  <c:v>File Size (MB)</c:v>
                </c:pt>
              </c:strCache>
            </c:strRef>
          </c:tx>
          <c:spPr>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chemeClr>
              </a:solidFill>
              <a:round/>
            </a:ln>
            <a:effectLst>
              <a:outerShdw blurRad="40000" dist="20000" dir="5400000" rotWithShape="0">
                <a:srgbClr val="000000">
                  <a:alpha val="38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ize!$J$32:$J$36</c:f>
              <c:strCache>
                <c:ptCount val="5"/>
                <c:pt idx="0">
                  <c:v>Other (1148)</c:v>
                </c:pt>
                <c:pt idx="1">
                  <c:v>Unknown (8434)</c:v>
                </c:pt>
                <c:pt idx="2">
                  <c:v>Asian (361)</c:v>
                </c:pt>
                <c:pt idx="3">
                  <c:v>Black or African American (2335)</c:v>
                </c:pt>
                <c:pt idx="4">
                  <c:v>White (27964)</c:v>
                </c:pt>
              </c:strCache>
            </c:strRef>
          </c:cat>
          <c:val>
            <c:numRef>
              <c:f>Size!$M$32:$M$36</c:f>
              <c:numCache>
                <c:formatCode>0.00</c:formatCode>
                <c:ptCount val="5"/>
                <c:pt idx="0">
                  <c:v>0.38292231881533123</c:v>
                </c:pt>
                <c:pt idx="1">
                  <c:v>0.59805554600426691</c:v>
                </c:pt>
                <c:pt idx="2">
                  <c:v>0.61564378947368403</c:v>
                </c:pt>
                <c:pt idx="3">
                  <c:v>0.85749888565310439</c:v>
                </c:pt>
                <c:pt idx="4">
                  <c:v>0.82307687623373327</c:v>
                </c:pt>
              </c:numCache>
            </c:numRef>
          </c:val>
          <c:extLst>
            <c:ext xmlns:c16="http://schemas.microsoft.com/office/drawing/2014/chart" uri="{C3380CC4-5D6E-409C-BE32-E72D297353CC}">
              <c16:uniqueId val="{00000000-A35B-0944-B1EC-2CE1D42B20CE}"/>
            </c:ext>
          </c:extLst>
        </c:ser>
        <c:dLbls>
          <c:dLblPos val="outEnd"/>
          <c:showLegendKey val="0"/>
          <c:showVal val="1"/>
          <c:showCatName val="0"/>
          <c:showSerName val="0"/>
          <c:showPercent val="0"/>
          <c:showBubbleSize val="0"/>
        </c:dLbls>
        <c:gapWidth val="100"/>
        <c:overlap val="-24"/>
        <c:axId val="1399688319"/>
        <c:axId val="1399684271"/>
      </c:barChart>
      <c:catAx>
        <c:axId val="1399688319"/>
        <c:scaling>
          <c:orientation val="minMax"/>
        </c:scaling>
        <c:delete val="0"/>
        <c:axPos val="b"/>
        <c:title>
          <c:tx>
            <c:rich>
              <a:bodyPr rot="0" spcFirstLastPara="1" vertOverflow="ellipsis" vert="horz" wrap="square" anchor="ctr" anchorCtr="1"/>
              <a:lstStyle/>
              <a:p>
                <a:pPr>
                  <a:defRPr sz="1197" b="0" i="0" u="none" strike="noStrike" kern="1200" cap="all" baseline="0">
                    <a:solidFill>
                      <a:schemeClr val="tx1">
                        <a:lumMod val="50000"/>
                        <a:lumOff val="50000"/>
                      </a:schemeClr>
                    </a:solidFill>
                    <a:latin typeface="+mn-lt"/>
                    <a:ea typeface="+mn-ea"/>
                    <a:cs typeface="+mn-cs"/>
                  </a:defRPr>
                </a:pPr>
                <a:r>
                  <a:rPr lang="en-US"/>
                  <a:t>Race</a:t>
                </a:r>
              </a:p>
            </c:rich>
          </c:tx>
          <c:overlay val="0"/>
          <c:spPr>
            <a:noFill/>
            <a:ln>
              <a:noFill/>
            </a:ln>
            <a:effectLst/>
          </c:spPr>
          <c:txPr>
            <a:bodyPr rot="0" spcFirstLastPara="1" vertOverflow="ellipsis" vert="horz" wrap="square" anchor="ctr" anchorCtr="1"/>
            <a:lstStyle/>
            <a:p>
              <a:pPr>
                <a:defRPr sz="1197" b="0" i="0" u="none" strike="noStrike" kern="1200" cap="all" baseline="0">
                  <a:solidFill>
                    <a:schemeClr val="tx1">
                      <a:lumMod val="50000"/>
                      <a:lumOff val="50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50000"/>
                    <a:lumOff val="50000"/>
                  </a:schemeClr>
                </a:solidFill>
                <a:latin typeface="+mn-lt"/>
                <a:ea typeface="+mn-ea"/>
                <a:cs typeface="+mn-cs"/>
              </a:defRPr>
            </a:pPr>
            <a:endParaRPr lang="en-US"/>
          </a:p>
        </c:txPr>
        <c:crossAx val="1399684271"/>
        <c:crosses val="autoZero"/>
        <c:auto val="1"/>
        <c:lblAlgn val="ctr"/>
        <c:lblOffset val="100"/>
        <c:noMultiLvlLbl val="0"/>
      </c:catAx>
      <c:valAx>
        <c:axId val="1399684271"/>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197" b="0" i="0" u="none" strike="noStrike" kern="1200" cap="all" baseline="0">
                    <a:solidFill>
                      <a:schemeClr val="tx1">
                        <a:lumMod val="50000"/>
                        <a:lumOff val="50000"/>
                      </a:schemeClr>
                    </a:solidFill>
                    <a:latin typeface="+mn-lt"/>
                    <a:ea typeface="+mn-ea"/>
                    <a:cs typeface="+mn-cs"/>
                  </a:defRPr>
                </a:pPr>
                <a:r>
                  <a:rPr lang="en-US"/>
                  <a:t>Size (MB)</a:t>
                </a:r>
              </a:p>
            </c:rich>
          </c:tx>
          <c:overlay val="0"/>
          <c:spPr>
            <a:noFill/>
            <a:ln>
              <a:noFill/>
            </a:ln>
            <a:effectLst/>
          </c:spPr>
          <c:txPr>
            <a:bodyPr rot="-5400000" spcFirstLastPara="1" vertOverflow="ellipsis" vert="horz" wrap="square" anchor="ctr" anchorCtr="1"/>
            <a:lstStyle/>
            <a:p>
              <a:pPr>
                <a:defRPr sz="1197" b="0" i="0" u="none" strike="noStrike" kern="1200" cap="all" baseline="0">
                  <a:solidFill>
                    <a:schemeClr val="tx1">
                      <a:lumMod val="50000"/>
                      <a:lumOff val="50000"/>
                    </a:schemeClr>
                  </a:solidFill>
                  <a:latin typeface="+mn-lt"/>
                  <a:ea typeface="+mn-ea"/>
                  <a:cs typeface="+mn-cs"/>
                </a:defRPr>
              </a:pPr>
              <a:endParaRPr lang="en-US"/>
            </a:p>
          </c:txPr>
        </c:title>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50000"/>
                    <a:lumOff val="50000"/>
                  </a:schemeClr>
                </a:solidFill>
                <a:latin typeface="+mn-lt"/>
                <a:ea typeface="+mn-ea"/>
                <a:cs typeface="+mn-cs"/>
              </a:defRPr>
            </a:pPr>
            <a:endParaRPr lang="en-US"/>
          </a:p>
        </c:txPr>
        <c:crossAx val="1399688319"/>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cap="none" spc="20" baseline="0">
                <a:solidFill>
                  <a:schemeClr val="bg1"/>
                </a:solidFill>
                <a:latin typeface="+mn-lt"/>
                <a:ea typeface="+mn-ea"/>
                <a:cs typeface="+mn-cs"/>
              </a:defRPr>
            </a:pPr>
            <a:r>
              <a:rPr lang="en-US"/>
              <a:t>Violations/Size (MB) by Ethnicity</a:t>
            </a:r>
          </a:p>
        </c:rich>
      </c:tx>
      <c:overlay val="0"/>
      <c:spPr>
        <a:noFill/>
        <a:ln>
          <a:noFill/>
        </a:ln>
        <a:effectLst/>
      </c:spPr>
      <c:txPr>
        <a:bodyPr rot="0" spcFirstLastPara="1" vertOverflow="ellipsis" vert="horz" wrap="square" anchor="ctr" anchorCtr="1"/>
        <a:lstStyle/>
        <a:p>
          <a:pPr>
            <a:defRPr sz="1862" b="0" i="0" u="none" strike="noStrike" kern="1200" cap="none" spc="20" baseline="0">
              <a:solidFill>
                <a:schemeClr val="bg1"/>
              </a:solidFill>
              <a:latin typeface="+mn-lt"/>
              <a:ea typeface="+mn-ea"/>
              <a:cs typeface="+mn-cs"/>
            </a:defRPr>
          </a:pPr>
          <a:endParaRPr lang="en-US"/>
        </a:p>
      </c:txPr>
    </c:title>
    <c:autoTitleDeleted val="0"/>
    <c:plotArea>
      <c:layout/>
      <c:barChart>
        <c:barDir val="col"/>
        <c:grouping val="clustered"/>
        <c:varyColors val="0"/>
        <c:ser>
          <c:idx val="0"/>
          <c:order val="0"/>
          <c:tx>
            <c:strRef>
              <c:f>Graphs_Abstract_Median!$U$30</c:f>
              <c:strCache>
                <c:ptCount val="1"/>
                <c:pt idx="0">
                  <c:v>completeness violations/size (MB)</c:v>
                </c:pt>
              </c:strCache>
            </c:strRef>
          </c:tx>
          <c:spPr>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chemeClr>
              </a:solidFill>
              <a:round/>
            </a:ln>
            <a:effectLst>
              <a:outerShdw blurRad="40000" dist="20000" dir="5400000" rotWithShape="0">
                <a:srgbClr val="000000">
                  <a:alpha val="38000"/>
                </a:srgbClr>
              </a:outerShdw>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Graphs_Abstract_Median!$T$31:$T$34</c:f>
              <c:strCache>
                <c:ptCount val="4"/>
                <c:pt idx="0">
                  <c:v>Unknown (6365)</c:v>
                </c:pt>
                <c:pt idx="1">
                  <c:v>Not Hispanic or Latino (28137)</c:v>
                </c:pt>
                <c:pt idx="2">
                  <c:v>Hispanic or Latino (2776)</c:v>
                </c:pt>
                <c:pt idx="3">
                  <c:v>DTS (2964)</c:v>
                </c:pt>
              </c:strCache>
            </c:strRef>
          </c:cat>
          <c:val>
            <c:numRef>
              <c:f>Graphs_Abstract_Median!$U$31:$U$34</c:f>
              <c:numCache>
                <c:formatCode>0.00</c:formatCode>
                <c:ptCount val="4"/>
                <c:pt idx="0">
                  <c:v>91.050197694238577</c:v>
                </c:pt>
                <c:pt idx="1">
                  <c:v>51.932139487326538</c:v>
                </c:pt>
                <c:pt idx="2">
                  <c:v>69.611472161159227</c:v>
                </c:pt>
                <c:pt idx="3">
                  <c:v>59.652734653775653</c:v>
                </c:pt>
              </c:numCache>
            </c:numRef>
          </c:val>
          <c:extLst>
            <c:ext xmlns:c16="http://schemas.microsoft.com/office/drawing/2014/chart" uri="{C3380CC4-5D6E-409C-BE32-E72D297353CC}">
              <c16:uniqueId val="{00000000-C272-4C59-8E88-800EE773AE5A}"/>
            </c:ext>
          </c:extLst>
        </c:ser>
        <c:ser>
          <c:idx val="1"/>
          <c:order val="1"/>
          <c:tx>
            <c:strRef>
              <c:f>Graphs_Abstract_Median!$V$30</c:f>
              <c:strCache>
                <c:ptCount val="1"/>
                <c:pt idx="0">
                  <c:v>syntax violations/size (MB)</c:v>
                </c:pt>
              </c:strCache>
            </c:strRef>
          </c:tx>
          <c:spPr>
            <a:gradFill rotWithShape="1">
              <a:gsLst>
                <a:gs pos="0">
                  <a:schemeClr val="accent2">
                    <a:tint val="50000"/>
                    <a:satMod val="300000"/>
                  </a:schemeClr>
                </a:gs>
                <a:gs pos="35000">
                  <a:schemeClr val="accent2">
                    <a:tint val="37000"/>
                    <a:satMod val="300000"/>
                  </a:schemeClr>
                </a:gs>
                <a:gs pos="100000">
                  <a:schemeClr val="accent2">
                    <a:tint val="15000"/>
                    <a:satMod val="350000"/>
                  </a:schemeClr>
                </a:gs>
              </a:gsLst>
              <a:lin ang="16200000" scaled="1"/>
            </a:gradFill>
            <a:ln w="9525" cap="flat" cmpd="sng" algn="ctr">
              <a:solidFill>
                <a:schemeClr val="accent2">
                  <a:shade val="95000"/>
                </a:schemeClr>
              </a:solidFill>
              <a:round/>
            </a:ln>
            <a:effectLst>
              <a:outerShdw blurRad="40000" dist="20000" dir="5400000" rotWithShape="0">
                <a:srgbClr val="000000">
                  <a:alpha val="38000"/>
                </a:srgbClr>
              </a:outerShdw>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Graphs_Abstract_Median!$T$31:$T$34</c:f>
              <c:strCache>
                <c:ptCount val="4"/>
                <c:pt idx="0">
                  <c:v>Unknown (6365)</c:v>
                </c:pt>
                <c:pt idx="1">
                  <c:v>Not Hispanic or Latino (28137)</c:v>
                </c:pt>
                <c:pt idx="2">
                  <c:v>Hispanic or Latino (2776)</c:v>
                </c:pt>
                <c:pt idx="3">
                  <c:v>DTS (2964)</c:v>
                </c:pt>
              </c:strCache>
            </c:strRef>
          </c:cat>
          <c:val>
            <c:numRef>
              <c:f>Graphs_Abstract_Median!$V$31:$V$34</c:f>
              <c:numCache>
                <c:formatCode>0.00</c:formatCode>
                <c:ptCount val="4"/>
                <c:pt idx="0">
                  <c:v>45.121359677317237</c:v>
                </c:pt>
                <c:pt idx="1">
                  <c:v>35.221706554288872</c:v>
                </c:pt>
                <c:pt idx="2">
                  <c:v>48.308892289260648</c:v>
                </c:pt>
                <c:pt idx="3">
                  <c:v>35.066854922629851</c:v>
                </c:pt>
              </c:numCache>
            </c:numRef>
          </c:val>
          <c:extLst>
            <c:ext xmlns:c16="http://schemas.microsoft.com/office/drawing/2014/chart" uri="{C3380CC4-5D6E-409C-BE32-E72D297353CC}">
              <c16:uniqueId val="{00000001-C272-4C59-8E88-800EE773AE5A}"/>
            </c:ext>
          </c:extLst>
        </c:ser>
        <c:dLbls>
          <c:dLblPos val="inEnd"/>
          <c:showLegendKey val="0"/>
          <c:showVal val="1"/>
          <c:showCatName val="0"/>
          <c:showSerName val="0"/>
          <c:showPercent val="0"/>
          <c:showBubbleSize val="0"/>
        </c:dLbls>
        <c:gapWidth val="100"/>
        <c:overlap val="-24"/>
        <c:axId val="1794529712"/>
        <c:axId val="722212671"/>
      </c:barChart>
      <c:catAx>
        <c:axId val="1794529712"/>
        <c:scaling>
          <c:orientation val="minMax"/>
        </c:scaling>
        <c:delete val="0"/>
        <c:axPos val="b"/>
        <c:title>
          <c:tx>
            <c:rich>
              <a:bodyPr rot="0" spcFirstLastPara="1" vertOverflow="ellipsis" vert="horz" wrap="square" anchor="ctr" anchorCtr="1"/>
              <a:lstStyle/>
              <a:p>
                <a:pPr>
                  <a:defRPr sz="1197" b="0" i="0" u="none" strike="noStrike" kern="1200" cap="all" baseline="0">
                    <a:solidFill>
                      <a:schemeClr val="bg1"/>
                    </a:solidFill>
                    <a:latin typeface="+mn-lt"/>
                    <a:ea typeface="+mn-ea"/>
                    <a:cs typeface="+mn-cs"/>
                  </a:defRPr>
                </a:pPr>
                <a:r>
                  <a:rPr lang="en-US"/>
                  <a:t>Ethnicity</a:t>
                </a:r>
              </a:p>
            </c:rich>
          </c:tx>
          <c:overlay val="0"/>
          <c:spPr>
            <a:noFill/>
            <a:ln>
              <a:noFill/>
            </a:ln>
            <a:effectLst/>
          </c:spPr>
          <c:txPr>
            <a:bodyPr rot="0" spcFirstLastPara="1" vertOverflow="ellipsis" vert="horz" wrap="square" anchor="ctr" anchorCtr="1"/>
            <a:lstStyle/>
            <a:p>
              <a:pPr>
                <a:defRPr sz="1197" b="0" i="0" u="none" strike="noStrike" kern="1200" cap="all" baseline="0">
                  <a:solidFill>
                    <a:schemeClr val="bg1"/>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crossAx val="722212671"/>
        <c:crosses val="autoZero"/>
        <c:auto val="1"/>
        <c:lblAlgn val="ctr"/>
        <c:lblOffset val="100"/>
        <c:noMultiLvlLbl val="0"/>
      </c:catAx>
      <c:valAx>
        <c:axId val="722212671"/>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197" b="0" i="0" u="none" strike="noStrike" kern="1200" cap="all" baseline="0">
                    <a:solidFill>
                      <a:schemeClr val="bg1"/>
                    </a:solidFill>
                    <a:latin typeface="+mn-lt"/>
                    <a:ea typeface="+mn-ea"/>
                    <a:cs typeface="+mn-cs"/>
                  </a:defRPr>
                </a:pPr>
                <a:r>
                  <a:rPr lang="en-US"/>
                  <a:t>Violations/Size (MB)</a:t>
                </a:r>
              </a:p>
            </c:rich>
          </c:tx>
          <c:overlay val="0"/>
          <c:spPr>
            <a:noFill/>
            <a:ln>
              <a:noFill/>
            </a:ln>
            <a:effectLst/>
          </c:spPr>
          <c:txPr>
            <a:bodyPr rot="-5400000" spcFirstLastPara="1" vertOverflow="ellipsis" vert="horz" wrap="square" anchor="ctr" anchorCtr="1"/>
            <a:lstStyle/>
            <a:p>
              <a:pPr>
                <a:defRPr sz="1197" b="0" i="0" u="none" strike="noStrike" kern="1200" cap="all" baseline="0">
                  <a:solidFill>
                    <a:schemeClr val="bg1"/>
                  </a:solidFill>
                  <a:latin typeface="+mn-lt"/>
                  <a:ea typeface="+mn-ea"/>
                  <a:cs typeface="+mn-cs"/>
                </a:defRPr>
              </a:pPr>
              <a:endParaRPr lang="en-US"/>
            </a:p>
          </c:txPr>
        </c:title>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crossAx val="179452971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legend>
    <c:plotVisOnly val="1"/>
    <c:dispBlanksAs val="gap"/>
    <c:showDLblsOverMax val="0"/>
  </c:chart>
  <c:spPr>
    <a:noFill/>
    <a:ln>
      <a:noFill/>
    </a:ln>
    <a:effectLst/>
  </c:spPr>
  <c:txPr>
    <a:bodyPr/>
    <a:lstStyle/>
    <a:p>
      <a:pPr>
        <a:defRPr>
          <a:solidFill>
            <a:schemeClr val="bg1"/>
          </a:solidFill>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cap="none" spc="20" baseline="0">
                <a:solidFill>
                  <a:schemeClr val="bg1"/>
                </a:solidFill>
                <a:latin typeface="+mn-lt"/>
                <a:ea typeface="+mn-ea"/>
                <a:cs typeface="+mn-cs"/>
              </a:defRPr>
            </a:pPr>
            <a:r>
              <a:rPr lang="en-US"/>
              <a:t>Violations/Count (%) by Ethnicity</a:t>
            </a:r>
          </a:p>
        </c:rich>
      </c:tx>
      <c:overlay val="0"/>
      <c:spPr>
        <a:noFill/>
        <a:ln>
          <a:noFill/>
        </a:ln>
        <a:effectLst/>
      </c:spPr>
      <c:txPr>
        <a:bodyPr rot="0" spcFirstLastPara="1" vertOverflow="ellipsis" vert="horz" wrap="square" anchor="ctr" anchorCtr="1"/>
        <a:lstStyle/>
        <a:p>
          <a:pPr>
            <a:defRPr sz="1862" b="0" i="0" u="none" strike="noStrike" kern="1200" cap="none" spc="20" baseline="0">
              <a:solidFill>
                <a:schemeClr val="bg1"/>
              </a:solidFill>
              <a:latin typeface="+mn-lt"/>
              <a:ea typeface="+mn-ea"/>
              <a:cs typeface="+mn-cs"/>
            </a:defRPr>
          </a:pPr>
          <a:endParaRPr lang="en-US"/>
        </a:p>
      </c:txPr>
    </c:title>
    <c:autoTitleDeleted val="0"/>
    <c:plotArea>
      <c:layout/>
      <c:barChart>
        <c:barDir val="col"/>
        <c:grouping val="clustered"/>
        <c:varyColors val="0"/>
        <c:ser>
          <c:idx val="0"/>
          <c:order val="0"/>
          <c:tx>
            <c:strRef>
              <c:f>Graphs_Abstract_Median!$W$30</c:f>
              <c:strCache>
                <c:ptCount val="1"/>
                <c:pt idx="0">
                  <c:v>completeness violations/count (%)</c:v>
                </c:pt>
              </c:strCache>
            </c:strRef>
          </c:tx>
          <c:spPr>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chemeClr>
              </a:solidFill>
              <a:round/>
            </a:ln>
            <a:effectLst>
              <a:outerShdw blurRad="40000" dist="20000" dir="5400000" rotWithShape="0">
                <a:srgbClr val="000000">
                  <a:alpha val="38000"/>
                </a:srgbClr>
              </a:outerShdw>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Graphs_Abstract_Median!$T$31:$T$34</c:f>
              <c:strCache>
                <c:ptCount val="4"/>
                <c:pt idx="0">
                  <c:v>Unknown (6365)</c:v>
                </c:pt>
                <c:pt idx="1">
                  <c:v>Not Hispanic or Latino (28137)</c:v>
                </c:pt>
                <c:pt idx="2">
                  <c:v>Hispanic or Latino (2776)</c:v>
                </c:pt>
                <c:pt idx="3">
                  <c:v>DTS (2964)</c:v>
                </c:pt>
              </c:strCache>
            </c:strRef>
          </c:cat>
          <c:val>
            <c:numRef>
              <c:f>Graphs_Abstract_Median!$W$31:$W$34</c:f>
              <c:numCache>
                <c:formatCode>0.00</c:formatCode>
                <c:ptCount val="4"/>
                <c:pt idx="0">
                  <c:v>31.267010438844988</c:v>
                </c:pt>
                <c:pt idx="1">
                  <c:v>31.702468694385168</c:v>
                </c:pt>
                <c:pt idx="2">
                  <c:v>27.968231886840044</c:v>
                </c:pt>
                <c:pt idx="3">
                  <c:v>35.1706096007414</c:v>
                </c:pt>
              </c:numCache>
            </c:numRef>
          </c:val>
          <c:extLst>
            <c:ext xmlns:c16="http://schemas.microsoft.com/office/drawing/2014/chart" uri="{C3380CC4-5D6E-409C-BE32-E72D297353CC}">
              <c16:uniqueId val="{00000000-460C-4F14-B939-9AC56687B477}"/>
            </c:ext>
          </c:extLst>
        </c:ser>
        <c:ser>
          <c:idx val="1"/>
          <c:order val="1"/>
          <c:tx>
            <c:strRef>
              <c:f>Graphs_Abstract_Median!$X$30</c:f>
              <c:strCache>
                <c:ptCount val="1"/>
                <c:pt idx="0">
                  <c:v>syntax violations/count (%)</c:v>
                </c:pt>
              </c:strCache>
            </c:strRef>
          </c:tx>
          <c:spPr>
            <a:gradFill rotWithShape="1">
              <a:gsLst>
                <a:gs pos="0">
                  <a:schemeClr val="accent2">
                    <a:tint val="50000"/>
                    <a:satMod val="300000"/>
                  </a:schemeClr>
                </a:gs>
                <a:gs pos="35000">
                  <a:schemeClr val="accent2">
                    <a:tint val="37000"/>
                    <a:satMod val="300000"/>
                  </a:schemeClr>
                </a:gs>
                <a:gs pos="100000">
                  <a:schemeClr val="accent2">
                    <a:tint val="15000"/>
                    <a:satMod val="350000"/>
                  </a:schemeClr>
                </a:gs>
              </a:gsLst>
              <a:lin ang="16200000" scaled="1"/>
            </a:gradFill>
            <a:ln w="9525" cap="flat" cmpd="sng" algn="ctr">
              <a:solidFill>
                <a:schemeClr val="accent2">
                  <a:shade val="95000"/>
                </a:schemeClr>
              </a:solidFill>
              <a:round/>
            </a:ln>
            <a:effectLst>
              <a:outerShdw blurRad="40000" dist="20000" dir="5400000" rotWithShape="0">
                <a:srgbClr val="000000">
                  <a:alpha val="38000"/>
                </a:srgbClr>
              </a:outerShdw>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Graphs_Abstract_Median!$T$31:$T$34</c:f>
              <c:strCache>
                <c:ptCount val="4"/>
                <c:pt idx="0">
                  <c:v>Unknown (6365)</c:v>
                </c:pt>
                <c:pt idx="1">
                  <c:v>Not Hispanic or Latino (28137)</c:v>
                </c:pt>
                <c:pt idx="2">
                  <c:v>Hispanic or Latino (2776)</c:v>
                </c:pt>
                <c:pt idx="3">
                  <c:v>DTS (2964)</c:v>
                </c:pt>
              </c:strCache>
            </c:strRef>
          </c:cat>
          <c:val>
            <c:numRef>
              <c:f>Graphs_Abstract_Median!$X$31:$X$34</c:f>
              <c:numCache>
                <c:formatCode>0.00</c:formatCode>
                <c:ptCount val="4"/>
                <c:pt idx="0">
                  <c:v>14.32383772523322</c:v>
                </c:pt>
                <c:pt idx="1">
                  <c:v>15.493903503438601</c:v>
                </c:pt>
                <c:pt idx="2">
                  <c:v>14.430329950181866</c:v>
                </c:pt>
                <c:pt idx="3">
                  <c:v>14.459839536297423</c:v>
                </c:pt>
              </c:numCache>
            </c:numRef>
          </c:val>
          <c:extLst>
            <c:ext xmlns:c16="http://schemas.microsoft.com/office/drawing/2014/chart" uri="{C3380CC4-5D6E-409C-BE32-E72D297353CC}">
              <c16:uniqueId val="{00000001-460C-4F14-B939-9AC56687B477}"/>
            </c:ext>
          </c:extLst>
        </c:ser>
        <c:dLbls>
          <c:dLblPos val="inEnd"/>
          <c:showLegendKey val="0"/>
          <c:showVal val="1"/>
          <c:showCatName val="0"/>
          <c:showSerName val="0"/>
          <c:showPercent val="0"/>
          <c:showBubbleSize val="0"/>
        </c:dLbls>
        <c:gapWidth val="100"/>
        <c:overlap val="-24"/>
        <c:axId val="1251175375"/>
        <c:axId val="1251177023"/>
      </c:barChart>
      <c:catAx>
        <c:axId val="1251175375"/>
        <c:scaling>
          <c:orientation val="minMax"/>
        </c:scaling>
        <c:delete val="0"/>
        <c:axPos val="b"/>
        <c:title>
          <c:tx>
            <c:rich>
              <a:bodyPr rot="0" spcFirstLastPara="1" vertOverflow="ellipsis" vert="horz" wrap="square" anchor="ctr" anchorCtr="1"/>
              <a:lstStyle/>
              <a:p>
                <a:pPr>
                  <a:defRPr sz="1197" b="0" i="0" u="none" strike="noStrike" kern="1200" cap="all" baseline="0">
                    <a:solidFill>
                      <a:schemeClr val="bg1"/>
                    </a:solidFill>
                    <a:latin typeface="+mn-lt"/>
                    <a:ea typeface="+mn-ea"/>
                    <a:cs typeface="+mn-cs"/>
                  </a:defRPr>
                </a:pPr>
                <a:r>
                  <a:rPr lang="en-US"/>
                  <a:t>Ethnicity</a:t>
                </a:r>
              </a:p>
            </c:rich>
          </c:tx>
          <c:overlay val="0"/>
          <c:spPr>
            <a:noFill/>
            <a:ln>
              <a:noFill/>
            </a:ln>
            <a:effectLst/>
          </c:spPr>
          <c:txPr>
            <a:bodyPr rot="0" spcFirstLastPara="1" vertOverflow="ellipsis" vert="horz" wrap="square" anchor="ctr" anchorCtr="1"/>
            <a:lstStyle/>
            <a:p>
              <a:pPr>
                <a:defRPr sz="1197" b="0" i="0" u="none" strike="noStrike" kern="1200" cap="all" baseline="0">
                  <a:solidFill>
                    <a:schemeClr val="bg1"/>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crossAx val="1251177023"/>
        <c:crosses val="autoZero"/>
        <c:auto val="1"/>
        <c:lblAlgn val="ctr"/>
        <c:lblOffset val="100"/>
        <c:noMultiLvlLbl val="0"/>
      </c:catAx>
      <c:valAx>
        <c:axId val="1251177023"/>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197" b="0" i="0" u="none" strike="noStrike" kern="1200" cap="all" baseline="0">
                    <a:solidFill>
                      <a:schemeClr val="bg1"/>
                    </a:solidFill>
                    <a:latin typeface="+mn-lt"/>
                    <a:ea typeface="+mn-ea"/>
                    <a:cs typeface="+mn-cs"/>
                  </a:defRPr>
                </a:pPr>
                <a:r>
                  <a:rPr lang="en-US"/>
                  <a:t>Violations/Count (%)</a:t>
                </a:r>
              </a:p>
            </c:rich>
          </c:tx>
          <c:overlay val="0"/>
          <c:spPr>
            <a:noFill/>
            <a:ln>
              <a:noFill/>
            </a:ln>
            <a:effectLst/>
          </c:spPr>
          <c:txPr>
            <a:bodyPr rot="-5400000" spcFirstLastPara="1" vertOverflow="ellipsis" vert="horz" wrap="square" anchor="ctr" anchorCtr="1"/>
            <a:lstStyle/>
            <a:p>
              <a:pPr>
                <a:defRPr sz="1197" b="0" i="0" u="none" strike="noStrike" kern="1200" cap="all" baseline="0">
                  <a:solidFill>
                    <a:schemeClr val="bg1"/>
                  </a:solidFill>
                  <a:latin typeface="+mn-lt"/>
                  <a:ea typeface="+mn-ea"/>
                  <a:cs typeface="+mn-cs"/>
                </a:defRPr>
              </a:pPr>
              <a:endParaRPr lang="en-US"/>
            </a:p>
          </c:txPr>
        </c:title>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crossAx val="125117537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legend>
    <c:plotVisOnly val="1"/>
    <c:dispBlanksAs val="gap"/>
    <c:showDLblsOverMax val="0"/>
  </c:chart>
  <c:spPr>
    <a:noFill/>
    <a:ln>
      <a:noFill/>
    </a:ln>
    <a:effectLst/>
  </c:spPr>
  <c:txPr>
    <a:bodyPr/>
    <a:lstStyle/>
    <a:p>
      <a:pPr>
        <a:defRPr>
          <a:solidFill>
            <a:schemeClr val="bg1"/>
          </a:solidFill>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Schematron Errors/Size (MB)</a:t>
            </a:r>
            <a:r>
              <a:rPr lang="en-US" baseline="0"/>
              <a:t> vs. Completeness Violations/Count (%)</a:t>
            </a:r>
            <a:endParaRPr lang="en-US"/>
          </a:p>
        </c:rich>
      </c:tx>
      <c:overlay val="0"/>
      <c:spPr>
        <a:noFill/>
        <a:ln w="25400">
          <a:noFill/>
        </a:ln>
      </c:spPr>
    </c:title>
    <c:autoTitleDeleted val="0"/>
    <c:plotArea>
      <c:layout/>
      <c:scatterChart>
        <c:scatterStyle val="lineMarker"/>
        <c:varyColors val="0"/>
        <c:ser>
          <c:idx val="0"/>
          <c:order val="0"/>
          <c:tx>
            <c:strRef>
              <c:f>'Schema Schematron vs Syntax Cmp'!$J$1</c:f>
              <c:strCache>
                <c:ptCount val="1"/>
                <c:pt idx="0">
                  <c:v>Comp_Violations_Opportunity</c:v>
                </c:pt>
              </c:strCache>
            </c:strRef>
          </c:tx>
          <c:spPr>
            <a:ln w="19050">
              <a:noFill/>
            </a:ln>
          </c:spPr>
          <c:marker>
            <c:symbol val="circle"/>
            <c:size val="5"/>
            <c:spPr>
              <a:solidFill>
                <a:schemeClr val="accent1"/>
              </a:solidFill>
              <a:ln w="9525">
                <a:solidFill>
                  <a:schemeClr val="accent1"/>
                </a:solidFill>
              </a:ln>
              <a:effectLst/>
            </c:spPr>
          </c:marker>
          <c:trendline>
            <c:spPr>
              <a:ln w="19050" cap="rnd">
                <a:solidFill>
                  <a:schemeClr val="accent1"/>
                </a:solidFill>
                <a:prstDash val="sysDot"/>
              </a:ln>
              <a:effectLst/>
            </c:spPr>
            <c:trendlineType val="linear"/>
            <c:dispRSqr val="1"/>
            <c:dispEq val="1"/>
            <c:trendlineLbl>
              <c:layout>
                <c:manualLayout>
                  <c:x val="3.5645669291338583E-2"/>
                  <c:y val="-0.21536891221930593"/>
                </c:manualLayout>
              </c:layout>
              <c:tx>
                <c:rich>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r>
                      <a:rPr lang="en-US" baseline="0" dirty="0"/>
                      <a:t>y = -0.009x + 28.5</a:t>
                    </a:r>
                    <a:br>
                      <a:rPr lang="en-US" baseline="0" dirty="0"/>
                    </a:br>
                    <a:r>
                      <a:rPr lang="en-US" baseline="0" dirty="0">
                        <a:highlight>
                          <a:srgbClr val="00FF00"/>
                        </a:highlight>
                      </a:rPr>
                      <a:t>R² = 0.0263</a:t>
                    </a:r>
                    <a:endParaRPr lang="en-US" dirty="0">
                      <a:highlight>
                        <a:srgbClr val="00FF00"/>
                      </a:highlight>
                    </a:endParaRPr>
                  </a:p>
                </c:rich>
              </c:tx>
              <c:numFmt formatCode="General" sourceLinked="0"/>
              <c:spPr>
                <a:noFill/>
                <a:ln w="25400">
                  <a:noFill/>
                </a:ln>
              </c:spPr>
            </c:trendlineLbl>
          </c:trendline>
          <c:xVal>
            <c:numRef>
              <c:f>'Schema Schematron vs Syntax Cmp'!$H$2:$H$801</c:f>
              <c:numCache>
                <c:formatCode>General</c:formatCode>
                <c:ptCount val="800"/>
                <c:pt idx="0">
                  <c:v>30.900725240021384</c:v>
                </c:pt>
                <c:pt idx="1">
                  <c:v>115.69281730277419</c:v>
                </c:pt>
                <c:pt idx="2">
                  <c:v>39.706624766723579</c:v>
                </c:pt>
                <c:pt idx="3">
                  <c:v>72.625956516859119</c:v>
                </c:pt>
                <c:pt idx="4">
                  <c:v>51.331847561523354</c:v>
                </c:pt>
                <c:pt idx="5">
                  <c:v>68.057304250178646</c:v>
                </c:pt>
                <c:pt idx="6">
                  <c:v>51.364365971107546</c:v>
                </c:pt>
                <c:pt idx="7">
                  <c:v>41.017788047416566</c:v>
                </c:pt>
                <c:pt idx="8">
                  <c:v>31.349600292596268</c:v>
                </c:pt>
                <c:pt idx="9">
                  <c:v>128.5488669335586</c:v>
                </c:pt>
                <c:pt idx="10">
                  <c:v>31.164729836419799</c:v>
                </c:pt>
                <c:pt idx="11">
                  <c:v>64.716541548019677</c:v>
                </c:pt>
                <c:pt idx="12">
                  <c:v>44.57555962588949</c:v>
                </c:pt>
                <c:pt idx="13">
                  <c:v>232.22918909789516</c:v>
                </c:pt>
                <c:pt idx="14">
                  <c:v>69.621398833145349</c:v>
                </c:pt>
                <c:pt idx="15">
                  <c:v>44.57555962588949</c:v>
                </c:pt>
                <c:pt idx="16">
                  <c:v>41.151801513638077</c:v>
                </c:pt>
                <c:pt idx="17">
                  <c:v>43.36207877805662</c:v>
                </c:pt>
                <c:pt idx="18">
                  <c:v>112.9501061730998</c:v>
                </c:pt>
                <c:pt idx="19">
                  <c:v>93.689431246596428</c:v>
                </c:pt>
                <c:pt idx="20">
                  <c:v>31.21573585244322</c:v>
                </c:pt>
                <c:pt idx="21">
                  <c:v>48.966800509254725</c:v>
                </c:pt>
                <c:pt idx="22">
                  <c:v>76.334712447138202</c:v>
                </c:pt>
                <c:pt idx="23">
                  <c:v>39.643211100099109</c:v>
                </c:pt>
                <c:pt idx="24">
                  <c:v>100.62314476076847</c:v>
                </c:pt>
                <c:pt idx="25">
                  <c:v>26.933332307301626</c:v>
                </c:pt>
                <c:pt idx="26">
                  <c:v>38.531685889696632</c:v>
                </c:pt>
                <c:pt idx="27">
                  <c:v>9.44911650760654</c:v>
                </c:pt>
                <c:pt idx="28">
                  <c:v>70.787015483298347</c:v>
                </c:pt>
                <c:pt idx="29">
                  <c:v>74.964945369296061</c:v>
                </c:pt>
                <c:pt idx="30">
                  <c:v>8.9046005618802955</c:v>
                </c:pt>
                <c:pt idx="31">
                  <c:v>20.429913479316419</c:v>
                </c:pt>
                <c:pt idx="32">
                  <c:v>26.783698675737412</c:v>
                </c:pt>
                <c:pt idx="33">
                  <c:v>54.244771275742686</c:v>
                </c:pt>
                <c:pt idx="34">
                  <c:v>60.559081439852719</c:v>
                </c:pt>
                <c:pt idx="35">
                  <c:v>23.585925492061374</c:v>
                </c:pt>
                <c:pt idx="36">
                  <c:v>53.902253653225245</c:v>
                </c:pt>
                <c:pt idx="37">
                  <c:v>51.531339643059589</c:v>
                </c:pt>
                <c:pt idx="38">
                  <c:v>34.153005464480877</c:v>
                </c:pt>
                <c:pt idx="39">
                  <c:v>48.994790220639871</c:v>
                </c:pt>
                <c:pt idx="40">
                  <c:v>58.7986264640858</c:v>
                </c:pt>
                <c:pt idx="41">
                  <c:v>70.778504568162646</c:v>
                </c:pt>
                <c:pt idx="42">
                  <c:v>23.329105816582327</c:v>
                </c:pt>
                <c:pt idx="43">
                  <c:v>89.784741083252896</c:v>
                </c:pt>
                <c:pt idx="44">
                  <c:v>31.798018983417332</c:v>
                </c:pt>
                <c:pt idx="45">
                  <c:v>69.360860074664927</c:v>
                </c:pt>
                <c:pt idx="46">
                  <c:v>245.9698781503065</c:v>
                </c:pt>
                <c:pt idx="47">
                  <c:v>17.234247897421756</c:v>
                </c:pt>
                <c:pt idx="48">
                  <c:v>158.17779183802594</c:v>
                </c:pt>
                <c:pt idx="49">
                  <c:v>34.70685720731273</c:v>
                </c:pt>
                <c:pt idx="50">
                  <c:v>54.152406532946323</c:v>
                </c:pt>
                <c:pt idx="51">
                  <c:v>87.859307961517615</c:v>
                </c:pt>
                <c:pt idx="52">
                  <c:v>34.407453059126176</c:v>
                </c:pt>
                <c:pt idx="53">
                  <c:v>24.611033797661502</c:v>
                </c:pt>
                <c:pt idx="54">
                  <c:v>26.547078399211173</c:v>
                </c:pt>
                <c:pt idx="55">
                  <c:v>180.96272167933407</c:v>
                </c:pt>
                <c:pt idx="56">
                  <c:v>24.453764045630724</c:v>
                </c:pt>
                <c:pt idx="57">
                  <c:v>35.827454976831582</c:v>
                </c:pt>
                <c:pt idx="58">
                  <c:v>29.635208021727838</c:v>
                </c:pt>
                <c:pt idx="59">
                  <c:v>78.236698227248468</c:v>
                </c:pt>
                <c:pt idx="60">
                  <c:v>58.603397322661934</c:v>
                </c:pt>
                <c:pt idx="61">
                  <c:v>40.307140409923619</c:v>
                </c:pt>
                <c:pt idx="62">
                  <c:v>24.501225061253063</c:v>
                </c:pt>
                <c:pt idx="63">
                  <c:v>47.008575707311174</c:v>
                </c:pt>
                <c:pt idx="64">
                  <c:v>51.304978781726632</c:v>
                </c:pt>
                <c:pt idx="65">
                  <c:v>39.407055176445091</c:v>
                </c:pt>
                <c:pt idx="66">
                  <c:v>19.711036209173518</c:v>
                </c:pt>
                <c:pt idx="67">
                  <c:v>31.74619971534241</c:v>
                </c:pt>
                <c:pt idx="68">
                  <c:v>32.517757018028774</c:v>
                </c:pt>
                <c:pt idx="69">
                  <c:v>22.22723216979065</c:v>
                </c:pt>
                <c:pt idx="70">
                  <c:v>54.006830275593671</c:v>
                </c:pt>
                <c:pt idx="71">
                  <c:v>48.520498044250694</c:v>
                </c:pt>
                <c:pt idx="72">
                  <c:v>15.875787835971359</c:v>
                </c:pt>
                <c:pt idx="73">
                  <c:v>67.132116004296464</c:v>
                </c:pt>
                <c:pt idx="74">
                  <c:v>60.323766271258741</c:v>
                </c:pt>
                <c:pt idx="75">
                  <c:v>74.827895839568981</c:v>
                </c:pt>
                <c:pt idx="76">
                  <c:v>26.494901203457292</c:v>
                </c:pt>
                <c:pt idx="77">
                  <c:v>62.933982252617</c:v>
                </c:pt>
                <c:pt idx="78">
                  <c:v>12.288899744083663</c:v>
                </c:pt>
                <c:pt idx="79">
                  <c:v>151.74967373820147</c:v>
                </c:pt>
                <c:pt idx="80">
                  <c:v>53.973822695992446</c:v>
                </c:pt>
                <c:pt idx="81">
                  <c:v>36.220182489352773</c:v>
                </c:pt>
                <c:pt idx="82">
                  <c:v>7.297192769941403</c:v>
                </c:pt>
                <c:pt idx="83">
                  <c:v>64.882524464528345</c:v>
                </c:pt>
                <c:pt idx="84">
                  <c:v>92.661230541141578</c:v>
                </c:pt>
                <c:pt idx="85">
                  <c:v>86.717107117306568</c:v>
                </c:pt>
                <c:pt idx="86">
                  <c:v>107.39820184724907</c:v>
                </c:pt>
                <c:pt idx="87">
                  <c:v>108.10956904823038</c:v>
                </c:pt>
                <c:pt idx="88">
                  <c:v>31.409871337314534</c:v>
                </c:pt>
                <c:pt idx="89">
                  <c:v>13.68920708690251</c:v>
                </c:pt>
                <c:pt idx="90">
                  <c:v>38.205404007452991</c:v>
                </c:pt>
                <c:pt idx="91">
                  <c:v>68.051069710468866</c:v>
                </c:pt>
                <c:pt idx="92">
                  <c:v>30.748244554765417</c:v>
                </c:pt>
                <c:pt idx="93">
                  <c:v>25.667927603610195</c:v>
                </c:pt>
                <c:pt idx="94">
                  <c:v>84.596312902239205</c:v>
                </c:pt>
                <c:pt idx="95">
                  <c:v>56.703654550535781</c:v>
                </c:pt>
                <c:pt idx="96">
                  <c:v>95.66265521265808</c:v>
                </c:pt>
                <c:pt idx="97">
                  <c:v>64.201652451762328</c:v>
                </c:pt>
                <c:pt idx="98">
                  <c:v>84.880810912934194</c:v>
                </c:pt>
                <c:pt idx="99">
                  <c:v>47.380504214711216</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203.38090851448192</c:v>
                </c:pt>
                <c:pt idx="301">
                  <c:v>152.89433278851268</c:v>
                </c:pt>
                <c:pt idx="302">
                  <c:v>215.19150778360341</c:v>
                </c:pt>
                <c:pt idx="303">
                  <c:v>306.9328043319527</c:v>
                </c:pt>
                <c:pt idx="304">
                  <c:v>136.06128902709594</c:v>
                </c:pt>
                <c:pt idx="305">
                  <c:v>136.78453481221123</c:v>
                </c:pt>
                <c:pt idx="306">
                  <c:v>177.38529284154458</c:v>
                </c:pt>
                <c:pt idx="307">
                  <c:v>126.66768669688297</c:v>
                </c:pt>
                <c:pt idx="308">
                  <c:v>126.66768669688297</c:v>
                </c:pt>
                <c:pt idx="309">
                  <c:v>126.66768669688297</c:v>
                </c:pt>
                <c:pt idx="310">
                  <c:v>180.41014051268175</c:v>
                </c:pt>
                <c:pt idx="311">
                  <c:v>29.093742568446192</c:v>
                </c:pt>
                <c:pt idx="312">
                  <c:v>340.79014629634139</c:v>
                </c:pt>
                <c:pt idx="313">
                  <c:v>211.76750547702815</c:v>
                </c:pt>
                <c:pt idx="314">
                  <c:v>152.9422736174578</c:v>
                </c:pt>
                <c:pt idx="315">
                  <c:v>238.46558237088988</c:v>
                </c:pt>
                <c:pt idx="316">
                  <c:v>121.78218816226912</c:v>
                </c:pt>
                <c:pt idx="317">
                  <c:v>130.5906975507888</c:v>
                </c:pt>
                <c:pt idx="318">
                  <c:v>166.4880883718773</c:v>
                </c:pt>
                <c:pt idx="319">
                  <c:v>184.4971421149927</c:v>
                </c:pt>
                <c:pt idx="320">
                  <c:v>278.46023809582482</c:v>
                </c:pt>
                <c:pt idx="321">
                  <c:v>288.45271342222918</c:v>
                </c:pt>
                <c:pt idx="322">
                  <c:v>121.07861517310336</c:v>
                </c:pt>
                <c:pt idx="323">
                  <c:v>326.35288603275359</c:v>
                </c:pt>
                <c:pt idx="324">
                  <c:v>196.32722250829903</c:v>
                </c:pt>
                <c:pt idx="325">
                  <c:v>107.4735359987494</c:v>
                </c:pt>
                <c:pt idx="326">
                  <c:v>43.245680018661162</c:v>
                </c:pt>
                <c:pt idx="327">
                  <c:v>329.8535677644345</c:v>
                </c:pt>
                <c:pt idx="328">
                  <c:v>51.993644296921147</c:v>
                </c:pt>
                <c:pt idx="329">
                  <c:v>180.12905717154996</c:v>
                </c:pt>
                <c:pt idx="330">
                  <c:v>181.04979719992517</c:v>
                </c:pt>
                <c:pt idx="331">
                  <c:v>211.06331539694895</c:v>
                </c:pt>
                <c:pt idx="332">
                  <c:v>157.0777820617173</c:v>
                </c:pt>
                <c:pt idx="333">
                  <c:v>275.20399174388024</c:v>
                </c:pt>
                <c:pt idx="334">
                  <c:v>250.45680607117168</c:v>
                </c:pt>
                <c:pt idx="335">
                  <c:v>59.506171640087246</c:v>
                </c:pt>
                <c:pt idx="336">
                  <c:v>139.57221117275549</c:v>
                </c:pt>
                <c:pt idx="337">
                  <c:v>232.23917473626869</c:v>
                </c:pt>
                <c:pt idx="338">
                  <c:v>207.76558501594599</c:v>
                </c:pt>
                <c:pt idx="339">
                  <c:v>252.6270582526418</c:v>
                </c:pt>
                <c:pt idx="340">
                  <c:v>282.80664167113014</c:v>
                </c:pt>
                <c:pt idx="341">
                  <c:v>56.112702960840494</c:v>
                </c:pt>
                <c:pt idx="342">
                  <c:v>214.40019495187127</c:v>
                </c:pt>
                <c:pt idx="343">
                  <c:v>245.65560619359198</c:v>
                </c:pt>
                <c:pt idx="344">
                  <c:v>91.778760383258046</c:v>
                </c:pt>
                <c:pt idx="345">
                  <c:v>306.46530117970531</c:v>
                </c:pt>
                <c:pt idx="346">
                  <c:v>99.304649203598544</c:v>
                </c:pt>
                <c:pt idx="347">
                  <c:v>239.10237712829283</c:v>
                </c:pt>
                <c:pt idx="348">
                  <c:v>264.76179381410543</c:v>
                </c:pt>
                <c:pt idx="349">
                  <c:v>116.04740249145729</c:v>
                </c:pt>
                <c:pt idx="350">
                  <c:v>279.57557082999296</c:v>
                </c:pt>
                <c:pt idx="351">
                  <c:v>360.56481417656011</c:v>
                </c:pt>
                <c:pt idx="352">
                  <c:v>328.6888363752513</c:v>
                </c:pt>
                <c:pt idx="353">
                  <c:v>2.6118730525221552</c:v>
                </c:pt>
                <c:pt idx="354">
                  <c:v>331.67795199018053</c:v>
                </c:pt>
                <c:pt idx="355">
                  <c:v>331.67795199018053</c:v>
                </c:pt>
                <c:pt idx="356">
                  <c:v>331.67795199018053</c:v>
                </c:pt>
                <c:pt idx="357">
                  <c:v>362.49497116803002</c:v>
                </c:pt>
                <c:pt idx="358">
                  <c:v>83.154847393036135</c:v>
                </c:pt>
                <c:pt idx="359">
                  <c:v>106.97800644795858</c:v>
                </c:pt>
                <c:pt idx="360">
                  <c:v>72.25831314688395</c:v>
                </c:pt>
                <c:pt idx="361">
                  <c:v>155.39170363694282</c:v>
                </c:pt>
                <c:pt idx="362">
                  <c:v>172.79970310923494</c:v>
                </c:pt>
                <c:pt idx="363">
                  <c:v>253.84510241673556</c:v>
                </c:pt>
                <c:pt idx="364">
                  <c:v>344.91611287379794</c:v>
                </c:pt>
                <c:pt idx="365">
                  <c:v>299.86969298795611</c:v>
                </c:pt>
                <c:pt idx="366">
                  <c:v>262.08033806044318</c:v>
                </c:pt>
                <c:pt idx="367">
                  <c:v>261.15983456711569</c:v>
                </c:pt>
                <c:pt idx="368">
                  <c:v>167.46111803371639</c:v>
                </c:pt>
                <c:pt idx="369">
                  <c:v>279.46577237619505</c:v>
                </c:pt>
                <c:pt idx="370">
                  <c:v>216.51294247750764</c:v>
                </c:pt>
                <c:pt idx="371">
                  <c:v>273.30873554713406</c:v>
                </c:pt>
                <c:pt idx="372">
                  <c:v>277.46822650430636</c:v>
                </c:pt>
                <c:pt idx="373">
                  <c:v>425.71781096891641</c:v>
                </c:pt>
                <c:pt idx="374">
                  <c:v>261.01783840503674</c:v>
                </c:pt>
                <c:pt idx="375">
                  <c:v>82.957299190757382</c:v>
                </c:pt>
                <c:pt idx="376">
                  <c:v>424.75314500862612</c:v>
                </c:pt>
                <c:pt idx="377">
                  <c:v>329.64391589501759</c:v>
                </c:pt>
                <c:pt idx="378">
                  <c:v>329.64391589501759</c:v>
                </c:pt>
                <c:pt idx="379">
                  <c:v>329.64391589501759</c:v>
                </c:pt>
                <c:pt idx="380">
                  <c:v>329.64391589501759</c:v>
                </c:pt>
                <c:pt idx="381">
                  <c:v>329.64391589501759</c:v>
                </c:pt>
                <c:pt idx="382">
                  <c:v>329.64391589501759</c:v>
                </c:pt>
                <c:pt idx="383">
                  <c:v>329.64391589501759</c:v>
                </c:pt>
                <c:pt idx="384">
                  <c:v>329.64391589501759</c:v>
                </c:pt>
                <c:pt idx="385">
                  <c:v>329.64391589501759</c:v>
                </c:pt>
                <c:pt idx="386">
                  <c:v>279.39415583051488</c:v>
                </c:pt>
                <c:pt idx="387">
                  <c:v>178.24252866734003</c:v>
                </c:pt>
                <c:pt idx="388">
                  <c:v>148.81563282564966</c:v>
                </c:pt>
                <c:pt idx="389">
                  <c:v>175.58403918857948</c:v>
                </c:pt>
                <c:pt idx="390">
                  <c:v>299.0613796458104</c:v>
                </c:pt>
                <c:pt idx="391">
                  <c:v>113.80230263985405</c:v>
                </c:pt>
                <c:pt idx="392">
                  <c:v>112.98429999014392</c:v>
                </c:pt>
                <c:pt idx="393">
                  <c:v>317.17102382333098</c:v>
                </c:pt>
                <c:pt idx="394">
                  <c:v>317.17102382333098</c:v>
                </c:pt>
                <c:pt idx="395">
                  <c:v>263.43693716533039</c:v>
                </c:pt>
                <c:pt idx="396">
                  <c:v>302.3609969063308</c:v>
                </c:pt>
                <c:pt idx="397">
                  <c:v>364.04926800093608</c:v>
                </c:pt>
                <c:pt idx="398">
                  <c:v>364.04926800093608</c:v>
                </c:pt>
                <c:pt idx="399">
                  <c:v>176.61068283752738</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96.62359686269096</c:v>
                </c:pt>
                <c:pt idx="501">
                  <c:v>83.302095047690443</c:v>
                </c:pt>
                <c:pt idx="502">
                  <c:v>50.22398914374007</c:v>
                </c:pt>
                <c:pt idx="503">
                  <c:v>5.9840166914172244</c:v>
                </c:pt>
                <c:pt idx="504">
                  <c:v>9.1693300174319159</c:v>
                </c:pt>
                <c:pt idx="505">
                  <c:v>66.612984438031319</c:v>
                </c:pt>
                <c:pt idx="506">
                  <c:v>67.807291677053811</c:v>
                </c:pt>
                <c:pt idx="507">
                  <c:v>188.95218900095085</c:v>
                </c:pt>
                <c:pt idx="508">
                  <c:v>145.90953608762567</c:v>
                </c:pt>
                <c:pt idx="509">
                  <c:v>14.058215068599068</c:v>
                </c:pt>
                <c:pt idx="510">
                  <c:v>36.498718489439703</c:v>
                </c:pt>
                <c:pt idx="511">
                  <c:v>18.658566884579088</c:v>
                </c:pt>
                <c:pt idx="512">
                  <c:v>19.06478212967664</c:v>
                </c:pt>
                <c:pt idx="513">
                  <c:v>148.28937612541046</c:v>
                </c:pt>
                <c:pt idx="514">
                  <c:v>78.026849137556397</c:v>
                </c:pt>
                <c:pt idx="515">
                  <c:v>20.548427751728024</c:v>
                </c:pt>
                <c:pt idx="516">
                  <c:v>72.121131886827129</c:v>
                </c:pt>
                <c:pt idx="517">
                  <c:v>32.748834857859826</c:v>
                </c:pt>
                <c:pt idx="518">
                  <c:v>17.33360251398414</c:v>
                </c:pt>
                <c:pt idx="519">
                  <c:v>3.9154881047471375</c:v>
                </c:pt>
                <c:pt idx="520">
                  <c:v>5.8835354164317337</c:v>
                </c:pt>
                <c:pt idx="521">
                  <c:v>16.771356102257919</c:v>
                </c:pt>
                <c:pt idx="522">
                  <c:v>14.840362223561154</c:v>
                </c:pt>
                <c:pt idx="523">
                  <c:v>69.463739927757715</c:v>
                </c:pt>
                <c:pt idx="524">
                  <c:v>176.34127130300524</c:v>
                </c:pt>
                <c:pt idx="525">
                  <c:v>141.78679721854814</c:v>
                </c:pt>
                <c:pt idx="526">
                  <c:v>88.307671778045545</c:v>
                </c:pt>
                <c:pt idx="527">
                  <c:v>4.0502268633321821</c:v>
                </c:pt>
                <c:pt idx="528">
                  <c:v>66.631130063965898</c:v>
                </c:pt>
                <c:pt idx="529">
                  <c:v>19.698165017437802</c:v>
                </c:pt>
                <c:pt idx="530">
                  <c:v>176.23526232618795</c:v>
                </c:pt>
                <c:pt idx="531">
                  <c:v>138.60163726870238</c:v>
                </c:pt>
                <c:pt idx="532">
                  <c:v>16.04703385623262</c:v>
                </c:pt>
                <c:pt idx="533">
                  <c:v>92.5339067118922</c:v>
                </c:pt>
                <c:pt idx="534">
                  <c:v>42.190278154476694</c:v>
                </c:pt>
                <c:pt idx="535">
                  <c:v>108.66794427670311</c:v>
                </c:pt>
                <c:pt idx="536">
                  <c:v>6.9535710063903311</c:v>
                </c:pt>
                <c:pt idx="537">
                  <c:v>84.644909565983227</c:v>
                </c:pt>
                <c:pt idx="538">
                  <c:v>17.834707926933181</c:v>
                </c:pt>
                <c:pt idx="539">
                  <c:v>27.203564271443209</c:v>
                </c:pt>
                <c:pt idx="540">
                  <c:v>18.846327049240493</c:v>
                </c:pt>
                <c:pt idx="541">
                  <c:v>15.384362923275106</c:v>
                </c:pt>
                <c:pt idx="542">
                  <c:v>59.009114873450883</c:v>
                </c:pt>
                <c:pt idx="543">
                  <c:v>7.8994323270443978</c:v>
                </c:pt>
                <c:pt idx="544">
                  <c:v>20.129898233299482</c:v>
                </c:pt>
                <c:pt idx="545">
                  <c:v>5.9148731456872694</c:v>
                </c:pt>
                <c:pt idx="546">
                  <c:v>10.06885080178259</c:v>
                </c:pt>
                <c:pt idx="547">
                  <c:v>20.941844497829528</c:v>
                </c:pt>
                <c:pt idx="548">
                  <c:v>14.255152983247141</c:v>
                </c:pt>
                <c:pt idx="549">
                  <c:v>5.9091119491107271</c:v>
                </c:pt>
                <c:pt idx="550">
                  <c:v>7.9142491108835769</c:v>
                </c:pt>
                <c:pt idx="551">
                  <c:v>37.653064662202468</c:v>
                </c:pt>
                <c:pt idx="552">
                  <c:v>18.150394166059971</c:v>
                </c:pt>
                <c:pt idx="553">
                  <c:v>15.131278976399241</c:v>
                </c:pt>
                <c:pt idx="554">
                  <c:v>34.226752233547252</c:v>
                </c:pt>
                <c:pt idx="555">
                  <c:v>197.09372665829105</c:v>
                </c:pt>
                <c:pt idx="556">
                  <c:v>52.851329210929656</c:v>
                </c:pt>
                <c:pt idx="557">
                  <c:v>128.01318535809187</c:v>
                </c:pt>
                <c:pt idx="558">
                  <c:v>8.1157220811551927</c:v>
                </c:pt>
                <c:pt idx="559">
                  <c:v>11.080912825451447</c:v>
                </c:pt>
                <c:pt idx="560">
                  <c:v>14.213241258602817</c:v>
                </c:pt>
                <c:pt idx="561">
                  <c:v>14.136644808721098</c:v>
                </c:pt>
                <c:pt idx="562">
                  <c:v>14.719938451030691</c:v>
                </c:pt>
                <c:pt idx="563">
                  <c:v>72.29118890892515</c:v>
                </c:pt>
                <c:pt idx="564">
                  <c:v>9.9802391265294705</c:v>
                </c:pt>
                <c:pt idx="565">
                  <c:v>10.228755896877775</c:v>
                </c:pt>
                <c:pt idx="566">
                  <c:v>12.083910675732284</c:v>
                </c:pt>
                <c:pt idx="567">
                  <c:v>35.789809516408091</c:v>
                </c:pt>
                <c:pt idx="568">
                  <c:v>10.801437180314283</c:v>
                </c:pt>
                <c:pt idx="569">
                  <c:v>57.211744753887331</c:v>
                </c:pt>
                <c:pt idx="570">
                  <c:v>283.42761100254091</c:v>
                </c:pt>
                <c:pt idx="571">
                  <c:v>70.961680692426086</c:v>
                </c:pt>
                <c:pt idx="572">
                  <c:v>7.8879827568696941</c:v>
                </c:pt>
                <c:pt idx="573">
                  <c:v>8.9350156313134566</c:v>
                </c:pt>
                <c:pt idx="574">
                  <c:v>14.069291259452804</c:v>
                </c:pt>
                <c:pt idx="575">
                  <c:v>4.0168587561997704</c:v>
                </c:pt>
                <c:pt idx="576">
                  <c:v>37.659259024347705</c:v>
                </c:pt>
                <c:pt idx="577">
                  <c:v>52.073684263232479</c:v>
                </c:pt>
                <c:pt idx="578">
                  <c:v>166.91984489294413</c:v>
                </c:pt>
                <c:pt idx="579">
                  <c:v>54.856362677762554</c:v>
                </c:pt>
                <c:pt idx="580">
                  <c:v>88.225093650429869</c:v>
                </c:pt>
                <c:pt idx="581">
                  <c:v>175.62696831928983</c:v>
                </c:pt>
                <c:pt idx="582">
                  <c:v>148.48103897132336</c:v>
                </c:pt>
                <c:pt idx="583">
                  <c:v>149.45106623372354</c:v>
                </c:pt>
                <c:pt idx="584">
                  <c:v>77.990722065747164</c:v>
                </c:pt>
                <c:pt idx="585">
                  <c:v>21.997030400895881</c:v>
                </c:pt>
                <c:pt idx="586">
                  <c:v>43.989430806091661</c:v>
                </c:pt>
                <c:pt idx="587">
                  <c:v>14.246695784199193</c:v>
                </c:pt>
                <c:pt idx="588">
                  <c:v>10.077668591837289</c:v>
                </c:pt>
                <c:pt idx="589">
                  <c:v>13.189787857481297</c:v>
                </c:pt>
                <c:pt idx="590">
                  <c:v>115.93548651865228</c:v>
                </c:pt>
                <c:pt idx="591">
                  <c:v>45.963972069552291</c:v>
                </c:pt>
                <c:pt idx="592">
                  <c:v>83.68784434060953</c:v>
                </c:pt>
                <c:pt idx="593">
                  <c:v>10.008206729518205</c:v>
                </c:pt>
                <c:pt idx="594">
                  <c:v>14.316655792825719</c:v>
                </c:pt>
                <c:pt idx="595">
                  <c:v>139.81498152732277</c:v>
                </c:pt>
                <c:pt idx="596">
                  <c:v>8.980754243655845</c:v>
                </c:pt>
                <c:pt idx="597">
                  <c:v>13.183019864782779</c:v>
                </c:pt>
                <c:pt idx="598">
                  <c:v>145.91420636381798</c:v>
                </c:pt>
                <c:pt idx="599">
                  <c:v>147.44333261249926</c:v>
                </c:pt>
                <c:pt idx="600">
                  <c:v>0</c:v>
                </c:pt>
                <c:pt idx="601">
                  <c:v>0</c:v>
                </c:pt>
                <c:pt idx="602">
                  <c:v>0</c:v>
                </c:pt>
                <c:pt idx="603">
                  <c:v>3.7810185307718189</c:v>
                </c:pt>
                <c:pt idx="604">
                  <c:v>0</c:v>
                </c:pt>
                <c:pt idx="605">
                  <c:v>3.7810185307718189</c:v>
                </c:pt>
                <c:pt idx="606">
                  <c:v>3.7810185307718189</c:v>
                </c:pt>
                <c:pt idx="607">
                  <c:v>3.7810185307718189</c:v>
                </c:pt>
                <c:pt idx="608">
                  <c:v>3.7810185307718189</c:v>
                </c:pt>
                <c:pt idx="609">
                  <c:v>3.7810185307718189</c:v>
                </c:pt>
                <c:pt idx="610">
                  <c:v>3.7810185307718189</c:v>
                </c:pt>
                <c:pt idx="611">
                  <c:v>0</c:v>
                </c:pt>
                <c:pt idx="612">
                  <c:v>3.7810185307718189</c:v>
                </c:pt>
                <c:pt idx="613">
                  <c:v>3.7810185307718189</c:v>
                </c:pt>
                <c:pt idx="614">
                  <c:v>0</c:v>
                </c:pt>
                <c:pt idx="615">
                  <c:v>3.7810185307718189</c:v>
                </c:pt>
                <c:pt idx="616">
                  <c:v>3.7810185307718189</c:v>
                </c:pt>
                <c:pt idx="617">
                  <c:v>3.7810185307718189</c:v>
                </c:pt>
                <c:pt idx="618">
                  <c:v>3.7810185307718189</c:v>
                </c:pt>
                <c:pt idx="619">
                  <c:v>3.7810185307718189</c:v>
                </c:pt>
                <c:pt idx="620">
                  <c:v>0</c:v>
                </c:pt>
                <c:pt idx="621">
                  <c:v>0</c:v>
                </c:pt>
                <c:pt idx="622">
                  <c:v>3.7810185307718189</c:v>
                </c:pt>
                <c:pt idx="623">
                  <c:v>3.7810185307718189</c:v>
                </c:pt>
                <c:pt idx="624">
                  <c:v>3.7810185307718189</c:v>
                </c:pt>
                <c:pt idx="625">
                  <c:v>0</c:v>
                </c:pt>
                <c:pt idx="626">
                  <c:v>3.7810185307718189</c:v>
                </c:pt>
                <c:pt idx="627">
                  <c:v>3.7810185307718189</c:v>
                </c:pt>
                <c:pt idx="628">
                  <c:v>3.7810185307718189</c:v>
                </c:pt>
                <c:pt idx="629">
                  <c:v>3.7810185307718189</c:v>
                </c:pt>
                <c:pt idx="630">
                  <c:v>3.7810185307718189</c:v>
                </c:pt>
                <c:pt idx="631">
                  <c:v>3.7810185307718189</c:v>
                </c:pt>
                <c:pt idx="632">
                  <c:v>3.7810185307718189</c:v>
                </c:pt>
                <c:pt idx="633">
                  <c:v>3.7810185307718189</c:v>
                </c:pt>
                <c:pt idx="634">
                  <c:v>3.7810185307718189</c:v>
                </c:pt>
                <c:pt idx="635">
                  <c:v>3.7810185307718189</c:v>
                </c:pt>
                <c:pt idx="636">
                  <c:v>0</c:v>
                </c:pt>
                <c:pt idx="637">
                  <c:v>3.7810185307718189</c:v>
                </c:pt>
                <c:pt idx="638">
                  <c:v>3.7810185307718189</c:v>
                </c:pt>
                <c:pt idx="639">
                  <c:v>3.7810185307718189</c:v>
                </c:pt>
                <c:pt idx="640">
                  <c:v>3.7810185307718189</c:v>
                </c:pt>
                <c:pt idx="641">
                  <c:v>3.7810185307718189</c:v>
                </c:pt>
                <c:pt idx="642">
                  <c:v>3.7810185307718189</c:v>
                </c:pt>
                <c:pt idx="643">
                  <c:v>3.7810185307718189</c:v>
                </c:pt>
                <c:pt idx="644">
                  <c:v>3.7810185307718189</c:v>
                </c:pt>
                <c:pt idx="645">
                  <c:v>3.7810185307718189</c:v>
                </c:pt>
                <c:pt idx="646">
                  <c:v>0</c:v>
                </c:pt>
                <c:pt idx="647">
                  <c:v>3.7810185307718189</c:v>
                </c:pt>
                <c:pt idx="648">
                  <c:v>3.7810185307718189</c:v>
                </c:pt>
                <c:pt idx="649">
                  <c:v>3.7810185307718189</c:v>
                </c:pt>
                <c:pt idx="650">
                  <c:v>3.7810185307718189</c:v>
                </c:pt>
                <c:pt idx="651">
                  <c:v>3.7810185307718189</c:v>
                </c:pt>
                <c:pt idx="652">
                  <c:v>3.7810185307718189</c:v>
                </c:pt>
                <c:pt idx="653">
                  <c:v>3.7810185307718189</c:v>
                </c:pt>
                <c:pt idx="654">
                  <c:v>3.7810185307718189</c:v>
                </c:pt>
                <c:pt idx="655">
                  <c:v>0</c:v>
                </c:pt>
                <c:pt idx="656">
                  <c:v>3.7810185307718189</c:v>
                </c:pt>
                <c:pt idx="657">
                  <c:v>3.7810185307718189</c:v>
                </c:pt>
                <c:pt idx="658">
                  <c:v>3.7810185307718189</c:v>
                </c:pt>
                <c:pt idx="659">
                  <c:v>3.7810185307718189</c:v>
                </c:pt>
                <c:pt idx="660">
                  <c:v>0</c:v>
                </c:pt>
                <c:pt idx="661">
                  <c:v>3.7810185307718189</c:v>
                </c:pt>
                <c:pt idx="662">
                  <c:v>0</c:v>
                </c:pt>
                <c:pt idx="663">
                  <c:v>3.7810185307718189</c:v>
                </c:pt>
                <c:pt idx="664">
                  <c:v>3.7810185307718189</c:v>
                </c:pt>
                <c:pt idx="665">
                  <c:v>0</c:v>
                </c:pt>
                <c:pt idx="666">
                  <c:v>3.7810185307718189</c:v>
                </c:pt>
                <c:pt idx="667">
                  <c:v>3.7810185307718189</c:v>
                </c:pt>
                <c:pt idx="668">
                  <c:v>3.7810185307718189</c:v>
                </c:pt>
                <c:pt idx="669">
                  <c:v>0</c:v>
                </c:pt>
                <c:pt idx="670">
                  <c:v>3.7810185307718189</c:v>
                </c:pt>
                <c:pt idx="671">
                  <c:v>3.7810185307718189</c:v>
                </c:pt>
                <c:pt idx="672">
                  <c:v>3.7810185307718189</c:v>
                </c:pt>
                <c:pt idx="673">
                  <c:v>3.7810185307718189</c:v>
                </c:pt>
                <c:pt idx="674">
                  <c:v>0</c:v>
                </c:pt>
                <c:pt idx="675">
                  <c:v>3.7810185307718189</c:v>
                </c:pt>
                <c:pt idx="676">
                  <c:v>3.7810185307718189</c:v>
                </c:pt>
                <c:pt idx="677">
                  <c:v>3.7810185307718189</c:v>
                </c:pt>
                <c:pt idx="678">
                  <c:v>3.7810185307718189</c:v>
                </c:pt>
                <c:pt idx="679">
                  <c:v>3.7810185307718189</c:v>
                </c:pt>
                <c:pt idx="680">
                  <c:v>3.7810185307718189</c:v>
                </c:pt>
                <c:pt idx="681">
                  <c:v>0</c:v>
                </c:pt>
                <c:pt idx="682">
                  <c:v>3.7810185307718189</c:v>
                </c:pt>
                <c:pt idx="683">
                  <c:v>3.7810185307718189</c:v>
                </c:pt>
                <c:pt idx="684">
                  <c:v>3.7810185307718189</c:v>
                </c:pt>
                <c:pt idx="685">
                  <c:v>3.7810185307718189</c:v>
                </c:pt>
                <c:pt idx="686">
                  <c:v>3.7810185307718189</c:v>
                </c:pt>
                <c:pt idx="687">
                  <c:v>3.7810185307718189</c:v>
                </c:pt>
                <c:pt idx="688">
                  <c:v>3.7810185307718189</c:v>
                </c:pt>
                <c:pt idx="689">
                  <c:v>3.7810185307718189</c:v>
                </c:pt>
                <c:pt idx="690">
                  <c:v>0</c:v>
                </c:pt>
                <c:pt idx="691">
                  <c:v>3.7810185307718189</c:v>
                </c:pt>
                <c:pt idx="692">
                  <c:v>3.7810185307718189</c:v>
                </c:pt>
                <c:pt idx="693">
                  <c:v>0</c:v>
                </c:pt>
                <c:pt idx="694">
                  <c:v>3.7810185307718189</c:v>
                </c:pt>
                <c:pt idx="695">
                  <c:v>3.7810185307718189</c:v>
                </c:pt>
                <c:pt idx="696">
                  <c:v>0</c:v>
                </c:pt>
                <c:pt idx="697">
                  <c:v>3.7810185307718189</c:v>
                </c:pt>
                <c:pt idx="698">
                  <c:v>3.7810185307718189</c:v>
                </c:pt>
                <c:pt idx="699">
                  <c:v>3.7810185307718189</c:v>
                </c:pt>
                <c:pt idx="700">
                  <c:v>3.7810185307718189</c:v>
                </c:pt>
                <c:pt idx="701">
                  <c:v>3.7810185307718189</c:v>
                </c:pt>
                <c:pt idx="702">
                  <c:v>3.7810185307718189</c:v>
                </c:pt>
                <c:pt idx="703">
                  <c:v>3.7810185307718189</c:v>
                </c:pt>
                <c:pt idx="704">
                  <c:v>0</c:v>
                </c:pt>
                <c:pt idx="705">
                  <c:v>3.7810185307718189</c:v>
                </c:pt>
                <c:pt idx="706">
                  <c:v>0</c:v>
                </c:pt>
                <c:pt idx="707">
                  <c:v>0</c:v>
                </c:pt>
                <c:pt idx="708">
                  <c:v>3.7810185307718189</c:v>
                </c:pt>
                <c:pt idx="709">
                  <c:v>3.7810185307718189</c:v>
                </c:pt>
                <c:pt idx="710">
                  <c:v>3.7810185307718189</c:v>
                </c:pt>
                <c:pt idx="711">
                  <c:v>0</c:v>
                </c:pt>
                <c:pt idx="712">
                  <c:v>3.7810185307718189</c:v>
                </c:pt>
                <c:pt idx="713">
                  <c:v>3.7810185307718189</c:v>
                </c:pt>
                <c:pt idx="714">
                  <c:v>0</c:v>
                </c:pt>
                <c:pt idx="715">
                  <c:v>0</c:v>
                </c:pt>
                <c:pt idx="716">
                  <c:v>0</c:v>
                </c:pt>
                <c:pt idx="717">
                  <c:v>0</c:v>
                </c:pt>
                <c:pt idx="718">
                  <c:v>0</c:v>
                </c:pt>
                <c:pt idx="719">
                  <c:v>0</c:v>
                </c:pt>
                <c:pt idx="720">
                  <c:v>0</c:v>
                </c:pt>
                <c:pt idx="721">
                  <c:v>0</c:v>
                </c:pt>
                <c:pt idx="722">
                  <c:v>0</c:v>
                </c:pt>
                <c:pt idx="723">
                  <c:v>0</c:v>
                </c:pt>
                <c:pt idx="724">
                  <c:v>0</c:v>
                </c:pt>
                <c:pt idx="725">
                  <c:v>0</c:v>
                </c:pt>
                <c:pt idx="726">
                  <c:v>0</c:v>
                </c:pt>
                <c:pt idx="727">
                  <c:v>3.2788175272469737</c:v>
                </c:pt>
                <c:pt idx="728">
                  <c:v>0</c:v>
                </c:pt>
                <c:pt idx="729">
                  <c:v>0</c:v>
                </c:pt>
                <c:pt idx="730">
                  <c:v>0</c:v>
                </c:pt>
                <c:pt idx="731">
                  <c:v>0</c:v>
                </c:pt>
                <c:pt idx="732">
                  <c:v>0</c:v>
                </c:pt>
                <c:pt idx="733">
                  <c:v>0</c:v>
                </c:pt>
                <c:pt idx="734">
                  <c:v>0</c:v>
                </c:pt>
                <c:pt idx="735">
                  <c:v>0</c:v>
                </c:pt>
                <c:pt idx="736">
                  <c:v>0</c:v>
                </c:pt>
                <c:pt idx="737">
                  <c:v>0</c:v>
                </c:pt>
                <c:pt idx="738">
                  <c:v>0</c:v>
                </c:pt>
                <c:pt idx="739">
                  <c:v>0</c:v>
                </c:pt>
                <c:pt idx="740">
                  <c:v>0</c:v>
                </c:pt>
                <c:pt idx="741">
                  <c:v>1.1076012458298814</c:v>
                </c:pt>
                <c:pt idx="742">
                  <c:v>0</c:v>
                </c:pt>
                <c:pt idx="743">
                  <c:v>4.9446447025548981</c:v>
                </c:pt>
                <c:pt idx="744">
                  <c:v>0</c:v>
                </c:pt>
                <c:pt idx="745">
                  <c:v>0</c:v>
                </c:pt>
                <c:pt idx="746">
                  <c:v>3.0647583438045909</c:v>
                </c:pt>
                <c:pt idx="747">
                  <c:v>0</c:v>
                </c:pt>
                <c:pt idx="748">
                  <c:v>0</c:v>
                </c:pt>
                <c:pt idx="749">
                  <c:v>0</c:v>
                </c:pt>
                <c:pt idx="750">
                  <c:v>0</c:v>
                </c:pt>
                <c:pt idx="751">
                  <c:v>0</c:v>
                </c:pt>
                <c:pt idx="752">
                  <c:v>2.287421355594518</c:v>
                </c:pt>
                <c:pt idx="753">
                  <c:v>0</c:v>
                </c:pt>
                <c:pt idx="754">
                  <c:v>0</c:v>
                </c:pt>
                <c:pt idx="755">
                  <c:v>0</c:v>
                </c:pt>
                <c:pt idx="756">
                  <c:v>0</c:v>
                </c:pt>
                <c:pt idx="757">
                  <c:v>0</c:v>
                </c:pt>
                <c:pt idx="758">
                  <c:v>0</c:v>
                </c:pt>
                <c:pt idx="759">
                  <c:v>0</c:v>
                </c:pt>
                <c:pt idx="760">
                  <c:v>0</c:v>
                </c:pt>
                <c:pt idx="761">
                  <c:v>0</c:v>
                </c:pt>
                <c:pt idx="762">
                  <c:v>2.9005432717547999</c:v>
                </c:pt>
                <c:pt idx="763">
                  <c:v>0</c:v>
                </c:pt>
                <c:pt idx="764">
                  <c:v>0</c:v>
                </c:pt>
                <c:pt idx="765">
                  <c:v>0</c:v>
                </c:pt>
                <c:pt idx="766">
                  <c:v>0</c:v>
                </c:pt>
                <c:pt idx="767">
                  <c:v>2.0262295414135991</c:v>
                </c:pt>
                <c:pt idx="768">
                  <c:v>0</c:v>
                </c:pt>
                <c:pt idx="769">
                  <c:v>0</c:v>
                </c:pt>
                <c:pt idx="770">
                  <c:v>0</c:v>
                </c:pt>
                <c:pt idx="771">
                  <c:v>0</c:v>
                </c:pt>
                <c:pt idx="772">
                  <c:v>0</c:v>
                </c:pt>
                <c:pt idx="773">
                  <c:v>0</c:v>
                </c:pt>
                <c:pt idx="774">
                  <c:v>0</c:v>
                </c:pt>
                <c:pt idx="775">
                  <c:v>292.42143985548495</c:v>
                </c:pt>
                <c:pt idx="776">
                  <c:v>0</c:v>
                </c:pt>
                <c:pt idx="777">
                  <c:v>0</c:v>
                </c:pt>
                <c:pt idx="778">
                  <c:v>0</c:v>
                </c:pt>
                <c:pt idx="779">
                  <c:v>0</c:v>
                </c:pt>
                <c:pt idx="780">
                  <c:v>0</c:v>
                </c:pt>
                <c:pt idx="781">
                  <c:v>0</c:v>
                </c:pt>
                <c:pt idx="782">
                  <c:v>0</c:v>
                </c:pt>
                <c:pt idx="783">
                  <c:v>2.1797771177897061</c:v>
                </c:pt>
                <c:pt idx="784">
                  <c:v>0</c:v>
                </c:pt>
                <c:pt idx="785">
                  <c:v>0</c:v>
                </c:pt>
                <c:pt idx="786">
                  <c:v>0</c:v>
                </c:pt>
                <c:pt idx="787">
                  <c:v>0</c:v>
                </c:pt>
                <c:pt idx="788">
                  <c:v>1.2760717407532651</c:v>
                </c:pt>
                <c:pt idx="789">
                  <c:v>0</c:v>
                </c:pt>
                <c:pt idx="790">
                  <c:v>0</c:v>
                </c:pt>
                <c:pt idx="791">
                  <c:v>0</c:v>
                </c:pt>
                <c:pt idx="792">
                  <c:v>4.0039185015735397</c:v>
                </c:pt>
                <c:pt idx="793">
                  <c:v>0</c:v>
                </c:pt>
                <c:pt idx="794">
                  <c:v>0</c:v>
                </c:pt>
                <c:pt idx="795">
                  <c:v>0</c:v>
                </c:pt>
                <c:pt idx="796">
                  <c:v>0</c:v>
                </c:pt>
                <c:pt idx="797">
                  <c:v>0</c:v>
                </c:pt>
                <c:pt idx="798">
                  <c:v>0</c:v>
                </c:pt>
                <c:pt idx="799">
                  <c:v>0</c:v>
                </c:pt>
              </c:numCache>
            </c:numRef>
          </c:xVal>
          <c:yVal>
            <c:numRef>
              <c:f>'Schema Schematron vs Syntax Cmp'!$J$2:$J$801</c:f>
              <c:numCache>
                <c:formatCode>0.00</c:formatCode>
                <c:ptCount val="800"/>
                <c:pt idx="0">
                  <c:v>20.547945205479451</c:v>
                </c:pt>
                <c:pt idx="1">
                  <c:v>28.000000000000004</c:v>
                </c:pt>
                <c:pt idx="2">
                  <c:v>25.757575757575758</c:v>
                </c:pt>
                <c:pt idx="3">
                  <c:v>26.760563380281688</c:v>
                </c:pt>
                <c:pt idx="4">
                  <c:v>25.714285714285712</c:v>
                </c:pt>
                <c:pt idx="5">
                  <c:v>21.917808219178081</c:v>
                </c:pt>
                <c:pt idx="6">
                  <c:v>32.307692307692307</c:v>
                </c:pt>
                <c:pt idx="7">
                  <c:v>20.512820512820511</c:v>
                </c:pt>
                <c:pt idx="8">
                  <c:v>30.136986301369863</c:v>
                </c:pt>
                <c:pt idx="9">
                  <c:v>22.222222222222221</c:v>
                </c:pt>
                <c:pt idx="10">
                  <c:v>28.169014084507044</c:v>
                </c:pt>
                <c:pt idx="11">
                  <c:v>28.169014084507044</c:v>
                </c:pt>
                <c:pt idx="12">
                  <c:v>28.169014084507044</c:v>
                </c:pt>
                <c:pt idx="13">
                  <c:v>28.169014084507044</c:v>
                </c:pt>
                <c:pt idx="14">
                  <c:v>28.169014084507044</c:v>
                </c:pt>
                <c:pt idx="15">
                  <c:v>28.169014084507044</c:v>
                </c:pt>
                <c:pt idx="16">
                  <c:v>28.169014084507044</c:v>
                </c:pt>
                <c:pt idx="17">
                  <c:v>28.169014084507044</c:v>
                </c:pt>
                <c:pt idx="18">
                  <c:v>28.169014084507044</c:v>
                </c:pt>
                <c:pt idx="19">
                  <c:v>28.169014084507044</c:v>
                </c:pt>
                <c:pt idx="20">
                  <c:v>28.169014084507044</c:v>
                </c:pt>
                <c:pt idx="21">
                  <c:v>28.169014084507044</c:v>
                </c:pt>
                <c:pt idx="22">
                  <c:v>28.169014084507044</c:v>
                </c:pt>
                <c:pt idx="23">
                  <c:v>28.169014084507044</c:v>
                </c:pt>
                <c:pt idx="24">
                  <c:v>28.169014084507044</c:v>
                </c:pt>
                <c:pt idx="25">
                  <c:v>28.169014084507044</c:v>
                </c:pt>
                <c:pt idx="26">
                  <c:v>28.169014084507044</c:v>
                </c:pt>
                <c:pt idx="27">
                  <c:v>28.169014084507044</c:v>
                </c:pt>
                <c:pt idx="28">
                  <c:v>28.169014084507044</c:v>
                </c:pt>
                <c:pt idx="29">
                  <c:v>28.169014084507044</c:v>
                </c:pt>
                <c:pt idx="30">
                  <c:v>28.169014084507044</c:v>
                </c:pt>
                <c:pt idx="31">
                  <c:v>28.169014084507044</c:v>
                </c:pt>
                <c:pt idx="32">
                  <c:v>28.169014084507044</c:v>
                </c:pt>
                <c:pt idx="33">
                  <c:v>28.169014084507044</c:v>
                </c:pt>
                <c:pt idx="34">
                  <c:v>28.169014084507044</c:v>
                </c:pt>
                <c:pt idx="35">
                  <c:v>28.169014084507044</c:v>
                </c:pt>
                <c:pt idx="36">
                  <c:v>28.169014084507044</c:v>
                </c:pt>
                <c:pt idx="37">
                  <c:v>28.169014084507044</c:v>
                </c:pt>
                <c:pt idx="38">
                  <c:v>28.169014084507044</c:v>
                </c:pt>
                <c:pt idx="39">
                  <c:v>28.169014084507044</c:v>
                </c:pt>
                <c:pt idx="40">
                  <c:v>28.169014084507044</c:v>
                </c:pt>
                <c:pt idx="41">
                  <c:v>28.169014084507044</c:v>
                </c:pt>
                <c:pt idx="42">
                  <c:v>28.169014084507044</c:v>
                </c:pt>
                <c:pt idx="43">
                  <c:v>28.169014084507044</c:v>
                </c:pt>
                <c:pt idx="44">
                  <c:v>28.169014084507044</c:v>
                </c:pt>
                <c:pt idx="45">
                  <c:v>28.169014084507044</c:v>
                </c:pt>
                <c:pt idx="46">
                  <c:v>28.169014084507044</c:v>
                </c:pt>
                <c:pt idx="47">
                  <c:v>28.169014084507044</c:v>
                </c:pt>
                <c:pt idx="48">
                  <c:v>28.169014084507044</c:v>
                </c:pt>
                <c:pt idx="49">
                  <c:v>28.169014084507044</c:v>
                </c:pt>
                <c:pt idx="50">
                  <c:v>28.169014084507044</c:v>
                </c:pt>
                <c:pt idx="51">
                  <c:v>28.169014084507044</c:v>
                </c:pt>
                <c:pt idx="52">
                  <c:v>28.169014084507044</c:v>
                </c:pt>
                <c:pt idx="53">
                  <c:v>28.169014084507044</c:v>
                </c:pt>
                <c:pt idx="54">
                  <c:v>28.169014084507044</c:v>
                </c:pt>
                <c:pt idx="55">
                  <c:v>28.169014084507044</c:v>
                </c:pt>
                <c:pt idx="56">
                  <c:v>28.169014084507044</c:v>
                </c:pt>
                <c:pt idx="57">
                  <c:v>28.169014084507044</c:v>
                </c:pt>
                <c:pt idx="58">
                  <c:v>28.169014084507044</c:v>
                </c:pt>
                <c:pt idx="59">
                  <c:v>28.169014084507044</c:v>
                </c:pt>
                <c:pt idx="60">
                  <c:v>28.169014084507044</c:v>
                </c:pt>
                <c:pt idx="61">
                  <c:v>28.169014084507044</c:v>
                </c:pt>
                <c:pt idx="62">
                  <c:v>28.169014084507044</c:v>
                </c:pt>
                <c:pt idx="63">
                  <c:v>28.169014084507044</c:v>
                </c:pt>
                <c:pt idx="64">
                  <c:v>28.169014084507044</c:v>
                </c:pt>
                <c:pt idx="65">
                  <c:v>28.169014084507044</c:v>
                </c:pt>
                <c:pt idx="66">
                  <c:v>28.169014084507044</c:v>
                </c:pt>
                <c:pt idx="67">
                  <c:v>28.169014084507044</c:v>
                </c:pt>
                <c:pt idx="68">
                  <c:v>28.169014084507044</c:v>
                </c:pt>
                <c:pt idx="69">
                  <c:v>28.169014084507044</c:v>
                </c:pt>
                <c:pt idx="70">
                  <c:v>27.380952380952383</c:v>
                </c:pt>
                <c:pt idx="71">
                  <c:v>26.923076923076923</c:v>
                </c:pt>
                <c:pt idx="72">
                  <c:v>26.923076923076923</c:v>
                </c:pt>
                <c:pt idx="73">
                  <c:v>28.04878048780488</c:v>
                </c:pt>
                <c:pt idx="74">
                  <c:v>27.380952380952383</c:v>
                </c:pt>
                <c:pt idx="75">
                  <c:v>23.376623376623375</c:v>
                </c:pt>
                <c:pt idx="76">
                  <c:v>27.710843373493976</c:v>
                </c:pt>
                <c:pt idx="77">
                  <c:v>27.380952380952383</c:v>
                </c:pt>
                <c:pt idx="78">
                  <c:v>23.684210526315788</c:v>
                </c:pt>
                <c:pt idx="79">
                  <c:v>27.710843373493976</c:v>
                </c:pt>
                <c:pt idx="80">
                  <c:v>21.428571428571427</c:v>
                </c:pt>
                <c:pt idx="81">
                  <c:v>28.169014084507044</c:v>
                </c:pt>
                <c:pt idx="82">
                  <c:v>28.169014084507044</c:v>
                </c:pt>
                <c:pt idx="83">
                  <c:v>28.169014084507044</c:v>
                </c:pt>
                <c:pt idx="84">
                  <c:v>28.169014084507044</c:v>
                </c:pt>
                <c:pt idx="85">
                  <c:v>28.169014084507044</c:v>
                </c:pt>
                <c:pt idx="86">
                  <c:v>28.169014084507044</c:v>
                </c:pt>
                <c:pt idx="87">
                  <c:v>28.169014084507044</c:v>
                </c:pt>
                <c:pt idx="88">
                  <c:v>28.169014084507044</c:v>
                </c:pt>
                <c:pt idx="89">
                  <c:v>28.169014084507044</c:v>
                </c:pt>
                <c:pt idx="90">
                  <c:v>28.169014084507044</c:v>
                </c:pt>
                <c:pt idx="91">
                  <c:v>28.169014084507044</c:v>
                </c:pt>
                <c:pt idx="92">
                  <c:v>28.169014084507044</c:v>
                </c:pt>
                <c:pt idx="93">
                  <c:v>28.169014084507044</c:v>
                </c:pt>
                <c:pt idx="94">
                  <c:v>28.169014084507044</c:v>
                </c:pt>
                <c:pt idx="95">
                  <c:v>28.169014084507044</c:v>
                </c:pt>
                <c:pt idx="96">
                  <c:v>28.169014084507044</c:v>
                </c:pt>
                <c:pt idx="97">
                  <c:v>28.169014084507044</c:v>
                </c:pt>
                <c:pt idx="98">
                  <c:v>28.169014084507044</c:v>
                </c:pt>
                <c:pt idx="99">
                  <c:v>28.169014084507044</c:v>
                </c:pt>
                <c:pt idx="100">
                  <c:v>28.169014084507044</c:v>
                </c:pt>
                <c:pt idx="101">
                  <c:v>28.169014084507044</c:v>
                </c:pt>
                <c:pt idx="102">
                  <c:v>28.169014084507044</c:v>
                </c:pt>
                <c:pt idx="103">
                  <c:v>28.169014084507044</c:v>
                </c:pt>
                <c:pt idx="104">
                  <c:v>28.169014084507044</c:v>
                </c:pt>
                <c:pt idx="105">
                  <c:v>28.169014084507044</c:v>
                </c:pt>
                <c:pt idx="106">
                  <c:v>28.169014084507044</c:v>
                </c:pt>
                <c:pt idx="107">
                  <c:v>28.169014084507044</c:v>
                </c:pt>
                <c:pt idx="108">
                  <c:v>28.169014084507044</c:v>
                </c:pt>
                <c:pt idx="109">
                  <c:v>28.169014084507044</c:v>
                </c:pt>
                <c:pt idx="110">
                  <c:v>26.506024096385545</c:v>
                </c:pt>
                <c:pt idx="111">
                  <c:v>27.710843373493976</c:v>
                </c:pt>
                <c:pt idx="112">
                  <c:v>28.915662650602407</c:v>
                </c:pt>
                <c:pt idx="113">
                  <c:v>27.27272727272727</c:v>
                </c:pt>
                <c:pt idx="114">
                  <c:v>30.864197530864196</c:v>
                </c:pt>
                <c:pt idx="115">
                  <c:v>26.865671641791046</c:v>
                </c:pt>
                <c:pt idx="116">
                  <c:v>31.707317073170731</c:v>
                </c:pt>
                <c:pt idx="117">
                  <c:v>27.27272727272727</c:v>
                </c:pt>
                <c:pt idx="118">
                  <c:v>28.39506172839506</c:v>
                </c:pt>
                <c:pt idx="119">
                  <c:v>30.487804878048781</c:v>
                </c:pt>
                <c:pt idx="120">
                  <c:v>27.27272727272727</c:v>
                </c:pt>
                <c:pt idx="121">
                  <c:v>29.629629629629626</c:v>
                </c:pt>
                <c:pt idx="122">
                  <c:v>27.27272727272727</c:v>
                </c:pt>
                <c:pt idx="123">
                  <c:v>27.160493827160494</c:v>
                </c:pt>
                <c:pt idx="124">
                  <c:v>30.487804878048781</c:v>
                </c:pt>
                <c:pt idx="125">
                  <c:v>21.53846153846154</c:v>
                </c:pt>
                <c:pt idx="126">
                  <c:v>26.923076923076923</c:v>
                </c:pt>
                <c:pt idx="127">
                  <c:v>29.268292682926827</c:v>
                </c:pt>
                <c:pt idx="128">
                  <c:v>27.27272727272727</c:v>
                </c:pt>
                <c:pt idx="129">
                  <c:v>26.829268292682929</c:v>
                </c:pt>
                <c:pt idx="130">
                  <c:v>29.268292682926827</c:v>
                </c:pt>
                <c:pt idx="131">
                  <c:v>27.397260273972602</c:v>
                </c:pt>
                <c:pt idx="132">
                  <c:v>28.000000000000004</c:v>
                </c:pt>
                <c:pt idx="133">
                  <c:v>30.666666666666664</c:v>
                </c:pt>
                <c:pt idx="134">
                  <c:v>30.555555555555557</c:v>
                </c:pt>
                <c:pt idx="135">
                  <c:v>27.160493827160494</c:v>
                </c:pt>
                <c:pt idx="136">
                  <c:v>29.629629629629626</c:v>
                </c:pt>
                <c:pt idx="137">
                  <c:v>22.388059701492537</c:v>
                </c:pt>
                <c:pt idx="138">
                  <c:v>28.571428571428569</c:v>
                </c:pt>
                <c:pt idx="139">
                  <c:v>28.571428571428569</c:v>
                </c:pt>
                <c:pt idx="140">
                  <c:v>27.631578947368425</c:v>
                </c:pt>
                <c:pt idx="141">
                  <c:v>28.04878048780488</c:v>
                </c:pt>
                <c:pt idx="142">
                  <c:v>30.985915492957744</c:v>
                </c:pt>
                <c:pt idx="143">
                  <c:v>26.027397260273972</c:v>
                </c:pt>
                <c:pt idx="144">
                  <c:v>29.166666666666668</c:v>
                </c:pt>
                <c:pt idx="145">
                  <c:v>27.631578947368425</c:v>
                </c:pt>
                <c:pt idx="146">
                  <c:v>30.864197530864196</c:v>
                </c:pt>
                <c:pt idx="147">
                  <c:v>29.761904761904763</c:v>
                </c:pt>
                <c:pt idx="148">
                  <c:v>28.39506172839506</c:v>
                </c:pt>
                <c:pt idx="149">
                  <c:v>27.27272727272727</c:v>
                </c:pt>
                <c:pt idx="150">
                  <c:v>29.629629629629626</c:v>
                </c:pt>
                <c:pt idx="151">
                  <c:v>28.35820895522388</c:v>
                </c:pt>
                <c:pt idx="152">
                  <c:v>25.714285714285712</c:v>
                </c:pt>
                <c:pt idx="153">
                  <c:v>27.160493827160494</c:v>
                </c:pt>
                <c:pt idx="154">
                  <c:v>28.04878048780488</c:v>
                </c:pt>
                <c:pt idx="155">
                  <c:v>28.04878048780488</c:v>
                </c:pt>
                <c:pt idx="156">
                  <c:v>28.39506172839506</c:v>
                </c:pt>
                <c:pt idx="157">
                  <c:v>28.378378378378379</c:v>
                </c:pt>
                <c:pt idx="158">
                  <c:v>24.242424242424242</c:v>
                </c:pt>
                <c:pt idx="159">
                  <c:v>27.160493827160494</c:v>
                </c:pt>
                <c:pt idx="160">
                  <c:v>20.833333333333336</c:v>
                </c:pt>
                <c:pt idx="161">
                  <c:v>21.951219512195124</c:v>
                </c:pt>
                <c:pt idx="162">
                  <c:v>20.512820512820511</c:v>
                </c:pt>
                <c:pt idx="163">
                  <c:v>24.358974358974358</c:v>
                </c:pt>
                <c:pt idx="164">
                  <c:v>24.675324675324674</c:v>
                </c:pt>
                <c:pt idx="165">
                  <c:v>26.25</c:v>
                </c:pt>
                <c:pt idx="166">
                  <c:v>21.686746987951807</c:v>
                </c:pt>
                <c:pt idx="167">
                  <c:v>21.428571428571427</c:v>
                </c:pt>
                <c:pt idx="168">
                  <c:v>26.582278481012654</c:v>
                </c:pt>
                <c:pt idx="169">
                  <c:v>26.190476190476193</c:v>
                </c:pt>
                <c:pt idx="170">
                  <c:v>21.518987341772153</c:v>
                </c:pt>
                <c:pt idx="171">
                  <c:v>20.779220779220779</c:v>
                </c:pt>
                <c:pt idx="172">
                  <c:v>23.188405797101449</c:v>
                </c:pt>
                <c:pt idx="173">
                  <c:v>21.686746987951807</c:v>
                </c:pt>
                <c:pt idx="174">
                  <c:v>24.358974358974358</c:v>
                </c:pt>
                <c:pt idx="175">
                  <c:v>20.8955223880597</c:v>
                </c:pt>
                <c:pt idx="176">
                  <c:v>23.287671232876711</c:v>
                </c:pt>
                <c:pt idx="177">
                  <c:v>27.160493827160494</c:v>
                </c:pt>
                <c:pt idx="178">
                  <c:v>20.253164556962027</c:v>
                </c:pt>
                <c:pt idx="179">
                  <c:v>25.97402597402597</c:v>
                </c:pt>
                <c:pt idx="180">
                  <c:v>24.358974358974358</c:v>
                </c:pt>
                <c:pt idx="181">
                  <c:v>23.076923076923077</c:v>
                </c:pt>
                <c:pt idx="182">
                  <c:v>23.076923076923077</c:v>
                </c:pt>
                <c:pt idx="183">
                  <c:v>21.917808219178081</c:v>
                </c:pt>
                <c:pt idx="184">
                  <c:v>26.506024096385545</c:v>
                </c:pt>
                <c:pt idx="185">
                  <c:v>26.506024096385545</c:v>
                </c:pt>
                <c:pt idx="186">
                  <c:v>27.380952380952383</c:v>
                </c:pt>
                <c:pt idx="187">
                  <c:v>22.784810126582279</c:v>
                </c:pt>
                <c:pt idx="188">
                  <c:v>22.61904761904762</c:v>
                </c:pt>
                <c:pt idx="189">
                  <c:v>22.352941176470591</c:v>
                </c:pt>
                <c:pt idx="190">
                  <c:v>22.784810126582279</c:v>
                </c:pt>
                <c:pt idx="191">
                  <c:v>20</c:v>
                </c:pt>
                <c:pt idx="192">
                  <c:v>21.176470588235293</c:v>
                </c:pt>
                <c:pt idx="193">
                  <c:v>26.190476190476193</c:v>
                </c:pt>
                <c:pt idx="194">
                  <c:v>25</c:v>
                </c:pt>
                <c:pt idx="195">
                  <c:v>25.301204819277107</c:v>
                </c:pt>
                <c:pt idx="196">
                  <c:v>22.61904761904762</c:v>
                </c:pt>
                <c:pt idx="197">
                  <c:v>22.61904761904762</c:v>
                </c:pt>
                <c:pt idx="198">
                  <c:v>20.547945205479451</c:v>
                </c:pt>
                <c:pt idx="199">
                  <c:v>20.779220779220779</c:v>
                </c:pt>
                <c:pt idx="200">
                  <c:v>24.675324675324674</c:v>
                </c:pt>
                <c:pt idx="201">
                  <c:v>26.666666666666668</c:v>
                </c:pt>
                <c:pt idx="202">
                  <c:v>34.482758620689658</c:v>
                </c:pt>
                <c:pt idx="203">
                  <c:v>24.096385542168676</c:v>
                </c:pt>
                <c:pt idx="204">
                  <c:v>22.972972972972975</c:v>
                </c:pt>
                <c:pt idx="205">
                  <c:v>25</c:v>
                </c:pt>
                <c:pt idx="206">
                  <c:v>27.631578947368425</c:v>
                </c:pt>
                <c:pt idx="207">
                  <c:v>32.8125</c:v>
                </c:pt>
                <c:pt idx="208">
                  <c:v>28.169014084507044</c:v>
                </c:pt>
                <c:pt idx="209">
                  <c:v>32.394366197183103</c:v>
                </c:pt>
                <c:pt idx="210">
                  <c:v>26.315789473684209</c:v>
                </c:pt>
                <c:pt idx="211">
                  <c:v>28.571428571428569</c:v>
                </c:pt>
                <c:pt idx="212">
                  <c:v>26.315789473684209</c:v>
                </c:pt>
                <c:pt idx="213">
                  <c:v>22.950819672131146</c:v>
                </c:pt>
                <c:pt idx="214">
                  <c:v>23.52941176470588</c:v>
                </c:pt>
                <c:pt idx="215">
                  <c:v>27.142857142857142</c:v>
                </c:pt>
                <c:pt idx="216">
                  <c:v>28.947368421052634</c:v>
                </c:pt>
                <c:pt idx="217">
                  <c:v>29.870129870129869</c:v>
                </c:pt>
                <c:pt idx="218">
                  <c:v>25.609756097560975</c:v>
                </c:pt>
                <c:pt idx="219">
                  <c:v>22.58064516129032</c:v>
                </c:pt>
                <c:pt idx="220">
                  <c:v>21.12676056338028</c:v>
                </c:pt>
                <c:pt idx="221">
                  <c:v>29.268292682926827</c:v>
                </c:pt>
                <c:pt idx="222">
                  <c:v>22.857142857142858</c:v>
                </c:pt>
                <c:pt idx="223">
                  <c:v>26.388888888888889</c:v>
                </c:pt>
                <c:pt idx="224">
                  <c:v>30.37974683544304</c:v>
                </c:pt>
                <c:pt idx="225">
                  <c:v>24.675324675324674</c:v>
                </c:pt>
                <c:pt idx="226">
                  <c:v>28.915662650602407</c:v>
                </c:pt>
                <c:pt idx="227">
                  <c:v>25.97402597402597</c:v>
                </c:pt>
                <c:pt idx="228">
                  <c:v>14.814814814814813</c:v>
                </c:pt>
                <c:pt idx="229">
                  <c:v>32.558139534883722</c:v>
                </c:pt>
                <c:pt idx="230">
                  <c:v>28.04878048780488</c:v>
                </c:pt>
                <c:pt idx="231">
                  <c:v>20.689655172413794</c:v>
                </c:pt>
                <c:pt idx="232">
                  <c:v>16.071428571428573</c:v>
                </c:pt>
                <c:pt idx="233">
                  <c:v>28.205128205128204</c:v>
                </c:pt>
                <c:pt idx="234">
                  <c:v>30.136986301369863</c:v>
                </c:pt>
                <c:pt idx="235">
                  <c:v>33.333333333333329</c:v>
                </c:pt>
                <c:pt idx="236">
                  <c:v>30.232558139534881</c:v>
                </c:pt>
                <c:pt idx="237">
                  <c:v>28.04878048780488</c:v>
                </c:pt>
                <c:pt idx="238">
                  <c:v>31.325301204819279</c:v>
                </c:pt>
                <c:pt idx="239">
                  <c:v>11.320754716981133</c:v>
                </c:pt>
                <c:pt idx="240">
                  <c:v>19.480519480519483</c:v>
                </c:pt>
                <c:pt idx="241">
                  <c:v>21.917808219178081</c:v>
                </c:pt>
                <c:pt idx="242">
                  <c:v>25.925925925925924</c:v>
                </c:pt>
                <c:pt idx="243">
                  <c:v>20.27027027027027</c:v>
                </c:pt>
                <c:pt idx="244">
                  <c:v>20.27027027027027</c:v>
                </c:pt>
                <c:pt idx="245">
                  <c:v>25.609756097560975</c:v>
                </c:pt>
                <c:pt idx="246">
                  <c:v>25.641025641025639</c:v>
                </c:pt>
                <c:pt idx="247">
                  <c:v>20.512820512820511</c:v>
                </c:pt>
                <c:pt idx="248">
                  <c:v>22.535211267605636</c:v>
                </c:pt>
                <c:pt idx="249">
                  <c:v>22.222222222222221</c:v>
                </c:pt>
                <c:pt idx="250">
                  <c:v>29.487179487179489</c:v>
                </c:pt>
                <c:pt idx="251">
                  <c:v>24</c:v>
                </c:pt>
                <c:pt idx="252">
                  <c:v>30</c:v>
                </c:pt>
                <c:pt idx="253">
                  <c:v>24.324324324324326</c:v>
                </c:pt>
                <c:pt idx="254">
                  <c:v>26.666666666666668</c:v>
                </c:pt>
                <c:pt idx="255">
                  <c:v>28.947368421052634</c:v>
                </c:pt>
                <c:pt idx="256">
                  <c:v>24.390243902439025</c:v>
                </c:pt>
                <c:pt idx="257">
                  <c:v>25.641025641025639</c:v>
                </c:pt>
                <c:pt idx="258">
                  <c:v>25.333333333333336</c:v>
                </c:pt>
                <c:pt idx="259">
                  <c:v>26.315789473684209</c:v>
                </c:pt>
                <c:pt idx="260">
                  <c:v>26.315789473684209</c:v>
                </c:pt>
                <c:pt idx="261">
                  <c:v>27.27272727272727</c:v>
                </c:pt>
                <c:pt idx="262">
                  <c:v>28.169014084507044</c:v>
                </c:pt>
                <c:pt idx="263">
                  <c:v>28.571428571428569</c:v>
                </c:pt>
                <c:pt idx="264">
                  <c:v>28.571428571428569</c:v>
                </c:pt>
                <c:pt idx="265">
                  <c:v>25.641025641025639</c:v>
                </c:pt>
                <c:pt idx="266">
                  <c:v>29.629629629629626</c:v>
                </c:pt>
                <c:pt idx="267">
                  <c:v>28.571428571428569</c:v>
                </c:pt>
                <c:pt idx="268">
                  <c:v>25</c:v>
                </c:pt>
                <c:pt idx="269">
                  <c:v>27.536231884057973</c:v>
                </c:pt>
                <c:pt idx="270">
                  <c:v>25.333333333333336</c:v>
                </c:pt>
                <c:pt idx="271">
                  <c:v>25.641025641025639</c:v>
                </c:pt>
                <c:pt idx="272">
                  <c:v>28.571428571428569</c:v>
                </c:pt>
                <c:pt idx="273">
                  <c:v>28.571428571428569</c:v>
                </c:pt>
                <c:pt idx="274">
                  <c:v>25</c:v>
                </c:pt>
                <c:pt idx="275">
                  <c:v>26.027397260273972</c:v>
                </c:pt>
                <c:pt idx="276">
                  <c:v>27.142857142857142</c:v>
                </c:pt>
                <c:pt idx="277">
                  <c:v>32.394366197183103</c:v>
                </c:pt>
                <c:pt idx="278">
                  <c:v>25.714285714285712</c:v>
                </c:pt>
                <c:pt idx="279">
                  <c:v>27.27272727272727</c:v>
                </c:pt>
                <c:pt idx="280">
                  <c:v>26.666666666666668</c:v>
                </c:pt>
                <c:pt idx="281">
                  <c:v>31.944444444444443</c:v>
                </c:pt>
                <c:pt idx="282">
                  <c:v>27.631578947368425</c:v>
                </c:pt>
                <c:pt idx="283">
                  <c:v>28.04878048780488</c:v>
                </c:pt>
                <c:pt idx="284">
                  <c:v>32.307692307692307</c:v>
                </c:pt>
                <c:pt idx="285">
                  <c:v>26.315789473684209</c:v>
                </c:pt>
                <c:pt idx="286">
                  <c:v>25</c:v>
                </c:pt>
                <c:pt idx="287">
                  <c:v>26.760563380281688</c:v>
                </c:pt>
                <c:pt idx="288">
                  <c:v>26.315789473684209</c:v>
                </c:pt>
                <c:pt idx="289">
                  <c:v>25</c:v>
                </c:pt>
                <c:pt idx="290">
                  <c:v>24</c:v>
                </c:pt>
                <c:pt idx="291">
                  <c:v>27.142857142857142</c:v>
                </c:pt>
                <c:pt idx="292">
                  <c:v>29.870129870129869</c:v>
                </c:pt>
                <c:pt idx="293">
                  <c:v>28.947368421052634</c:v>
                </c:pt>
                <c:pt idx="294">
                  <c:v>25.714285714285712</c:v>
                </c:pt>
                <c:pt idx="295">
                  <c:v>23.684210526315788</c:v>
                </c:pt>
                <c:pt idx="296">
                  <c:v>26.829268292682929</c:v>
                </c:pt>
                <c:pt idx="297">
                  <c:v>25.609756097560975</c:v>
                </c:pt>
                <c:pt idx="298">
                  <c:v>23.684210526315788</c:v>
                </c:pt>
                <c:pt idx="299">
                  <c:v>25.641025641025639</c:v>
                </c:pt>
                <c:pt idx="300">
                  <c:v>26.666666666666668</c:v>
                </c:pt>
                <c:pt idx="301">
                  <c:v>27.27272727272727</c:v>
                </c:pt>
                <c:pt idx="302">
                  <c:v>25.641025641025639</c:v>
                </c:pt>
                <c:pt idx="303">
                  <c:v>29.577464788732392</c:v>
                </c:pt>
                <c:pt idx="304">
                  <c:v>30</c:v>
                </c:pt>
                <c:pt idx="305">
                  <c:v>21.311475409836063</c:v>
                </c:pt>
                <c:pt idx="306">
                  <c:v>30.76923076923077</c:v>
                </c:pt>
                <c:pt idx="307">
                  <c:v>28.947368421052634</c:v>
                </c:pt>
                <c:pt idx="308">
                  <c:v>28.125</c:v>
                </c:pt>
                <c:pt idx="309">
                  <c:v>27.27272727272727</c:v>
                </c:pt>
                <c:pt idx="310">
                  <c:v>26.923076923076923</c:v>
                </c:pt>
                <c:pt idx="311">
                  <c:v>27.848101265822784</c:v>
                </c:pt>
                <c:pt idx="312">
                  <c:v>24.691358024691358</c:v>
                </c:pt>
                <c:pt idx="313">
                  <c:v>30.76923076923077</c:v>
                </c:pt>
                <c:pt idx="314">
                  <c:v>23.376623376623375</c:v>
                </c:pt>
                <c:pt idx="315">
                  <c:v>26.760563380281688</c:v>
                </c:pt>
                <c:pt idx="316">
                  <c:v>26.086956521739129</c:v>
                </c:pt>
                <c:pt idx="317">
                  <c:v>24.637681159420293</c:v>
                </c:pt>
                <c:pt idx="318">
                  <c:v>31.578947368421051</c:v>
                </c:pt>
                <c:pt idx="319">
                  <c:v>28.125</c:v>
                </c:pt>
                <c:pt idx="320">
                  <c:v>22.972972972972975</c:v>
                </c:pt>
                <c:pt idx="321">
                  <c:v>27.160493827160494</c:v>
                </c:pt>
                <c:pt idx="322">
                  <c:v>24.358974358974358</c:v>
                </c:pt>
                <c:pt idx="323">
                  <c:v>28.04878048780488</c:v>
                </c:pt>
                <c:pt idx="324">
                  <c:v>25.301204819277107</c:v>
                </c:pt>
                <c:pt idx="325">
                  <c:v>27.160493827160494</c:v>
                </c:pt>
                <c:pt idx="326">
                  <c:v>26.388888888888889</c:v>
                </c:pt>
                <c:pt idx="327">
                  <c:v>25</c:v>
                </c:pt>
                <c:pt idx="328">
                  <c:v>21.12676056338028</c:v>
                </c:pt>
                <c:pt idx="329">
                  <c:v>24.050632911392405</c:v>
                </c:pt>
                <c:pt idx="330">
                  <c:v>27.160493827160494</c:v>
                </c:pt>
                <c:pt idx="331">
                  <c:v>22.077922077922079</c:v>
                </c:pt>
                <c:pt idx="332">
                  <c:v>25.97402597402597</c:v>
                </c:pt>
                <c:pt idx="333">
                  <c:v>25</c:v>
                </c:pt>
                <c:pt idx="334">
                  <c:v>28.000000000000004</c:v>
                </c:pt>
                <c:pt idx="335">
                  <c:v>26.829268292682929</c:v>
                </c:pt>
                <c:pt idx="336">
                  <c:v>25.609756097560975</c:v>
                </c:pt>
                <c:pt idx="337">
                  <c:v>23.943661971830984</c:v>
                </c:pt>
                <c:pt idx="338">
                  <c:v>27.160493827160494</c:v>
                </c:pt>
                <c:pt idx="339">
                  <c:v>25.301204819277107</c:v>
                </c:pt>
                <c:pt idx="340">
                  <c:v>25.316455696202532</c:v>
                </c:pt>
                <c:pt idx="341">
                  <c:v>27.160493827160494</c:v>
                </c:pt>
                <c:pt idx="342">
                  <c:v>26.190476190476193</c:v>
                </c:pt>
                <c:pt idx="343">
                  <c:v>25.609756097560975</c:v>
                </c:pt>
                <c:pt idx="344">
                  <c:v>24.675324675324674</c:v>
                </c:pt>
                <c:pt idx="345">
                  <c:v>26.506024096385545</c:v>
                </c:pt>
                <c:pt idx="346">
                  <c:v>26.506024096385545</c:v>
                </c:pt>
                <c:pt idx="347">
                  <c:v>24.096385542168676</c:v>
                </c:pt>
                <c:pt idx="348">
                  <c:v>26.829268292682929</c:v>
                </c:pt>
                <c:pt idx="349">
                  <c:v>27.160493827160494</c:v>
                </c:pt>
                <c:pt idx="350">
                  <c:v>25.301204819277107</c:v>
                </c:pt>
                <c:pt idx="351">
                  <c:v>24.358974358974358</c:v>
                </c:pt>
                <c:pt idx="352">
                  <c:v>26.190476190476193</c:v>
                </c:pt>
                <c:pt idx="353">
                  <c:v>23.684210526315788</c:v>
                </c:pt>
                <c:pt idx="354">
                  <c:v>25</c:v>
                </c:pt>
                <c:pt idx="355">
                  <c:v>24.050632911392405</c:v>
                </c:pt>
                <c:pt idx="356">
                  <c:v>24.050632911392405</c:v>
                </c:pt>
                <c:pt idx="357">
                  <c:v>25.641025641025639</c:v>
                </c:pt>
                <c:pt idx="358">
                  <c:v>29.6875</c:v>
                </c:pt>
                <c:pt idx="359">
                  <c:v>28.571428571428569</c:v>
                </c:pt>
                <c:pt idx="360">
                  <c:v>30.263157894736842</c:v>
                </c:pt>
                <c:pt idx="361">
                  <c:v>26.315789473684209</c:v>
                </c:pt>
                <c:pt idx="362">
                  <c:v>27.710843373493976</c:v>
                </c:pt>
                <c:pt idx="363">
                  <c:v>28.947368421052634</c:v>
                </c:pt>
                <c:pt idx="364">
                  <c:v>27.380952380952383</c:v>
                </c:pt>
                <c:pt idx="365">
                  <c:v>27.27272727272727</c:v>
                </c:pt>
                <c:pt idx="366">
                  <c:v>28.571428571428569</c:v>
                </c:pt>
                <c:pt idx="367">
                  <c:v>27.142857142857142</c:v>
                </c:pt>
                <c:pt idx="368">
                  <c:v>29.761904761904763</c:v>
                </c:pt>
                <c:pt idx="369">
                  <c:v>25.97402597402597</c:v>
                </c:pt>
                <c:pt idx="370">
                  <c:v>26.506024096385545</c:v>
                </c:pt>
                <c:pt idx="371">
                  <c:v>26.506024096385545</c:v>
                </c:pt>
                <c:pt idx="372">
                  <c:v>28.205128205128204</c:v>
                </c:pt>
                <c:pt idx="373">
                  <c:v>27.160493827160494</c:v>
                </c:pt>
                <c:pt idx="374">
                  <c:v>27.160493827160494</c:v>
                </c:pt>
                <c:pt idx="375">
                  <c:v>24.358974358974358</c:v>
                </c:pt>
                <c:pt idx="376">
                  <c:v>24.358974358974358</c:v>
                </c:pt>
                <c:pt idx="377">
                  <c:v>24.358974358974358</c:v>
                </c:pt>
                <c:pt idx="378">
                  <c:v>24.358974358974358</c:v>
                </c:pt>
                <c:pt idx="379">
                  <c:v>24.358974358974358</c:v>
                </c:pt>
                <c:pt idx="380">
                  <c:v>24.358974358974358</c:v>
                </c:pt>
                <c:pt idx="381">
                  <c:v>24.358974358974358</c:v>
                </c:pt>
                <c:pt idx="382">
                  <c:v>24.358974358974358</c:v>
                </c:pt>
                <c:pt idx="383">
                  <c:v>24.358974358974358</c:v>
                </c:pt>
                <c:pt idx="384">
                  <c:v>30.76923076923077</c:v>
                </c:pt>
                <c:pt idx="385">
                  <c:v>29.069767441860467</c:v>
                </c:pt>
                <c:pt idx="386">
                  <c:v>28.40909090909091</c:v>
                </c:pt>
                <c:pt idx="387">
                  <c:v>25.609756097560975</c:v>
                </c:pt>
                <c:pt idx="388">
                  <c:v>27.710843373493976</c:v>
                </c:pt>
                <c:pt idx="389">
                  <c:v>23.52941176470588</c:v>
                </c:pt>
                <c:pt idx="390">
                  <c:v>23.52941176470588</c:v>
                </c:pt>
                <c:pt idx="391">
                  <c:v>23.52941176470588</c:v>
                </c:pt>
                <c:pt idx="392">
                  <c:v>31.460674157303369</c:v>
                </c:pt>
                <c:pt idx="393">
                  <c:v>25.301204819277107</c:v>
                </c:pt>
                <c:pt idx="394">
                  <c:v>33.707865168539328</c:v>
                </c:pt>
                <c:pt idx="395">
                  <c:v>27.777777777777779</c:v>
                </c:pt>
                <c:pt idx="396">
                  <c:v>32.183908045977013</c:v>
                </c:pt>
                <c:pt idx="397">
                  <c:v>26.744186046511626</c:v>
                </c:pt>
                <c:pt idx="398">
                  <c:v>23.863636363636363</c:v>
                </c:pt>
                <c:pt idx="399">
                  <c:v>27.27272727272727</c:v>
                </c:pt>
                <c:pt idx="400">
                  <c:v>30.952380952380953</c:v>
                </c:pt>
                <c:pt idx="401">
                  <c:v>26.373626373626376</c:v>
                </c:pt>
                <c:pt idx="402">
                  <c:v>30.76923076923077</c:v>
                </c:pt>
                <c:pt idx="403">
                  <c:v>32.222222222222221</c:v>
                </c:pt>
                <c:pt idx="404">
                  <c:v>27.160493827160494</c:v>
                </c:pt>
                <c:pt idx="405">
                  <c:v>32.926829268292686</c:v>
                </c:pt>
                <c:pt idx="406">
                  <c:v>27.472527472527474</c:v>
                </c:pt>
                <c:pt idx="407">
                  <c:v>29.333333333333332</c:v>
                </c:pt>
                <c:pt idx="408">
                  <c:v>28.888888888888886</c:v>
                </c:pt>
                <c:pt idx="409">
                  <c:v>32.584269662921351</c:v>
                </c:pt>
                <c:pt idx="410">
                  <c:v>28.235294117647058</c:v>
                </c:pt>
                <c:pt idx="411">
                  <c:v>26.436781609195403</c:v>
                </c:pt>
                <c:pt idx="412">
                  <c:v>27.27272727272727</c:v>
                </c:pt>
                <c:pt idx="413">
                  <c:v>28.08988764044944</c:v>
                </c:pt>
                <c:pt idx="414">
                  <c:v>28.915662650602407</c:v>
                </c:pt>
                <c:pt idx="415">
                  <c:v>28.888888888888886</c:v>
                </c:pt>
                <c:pt idx="416">
                  <c:v>23.52941176470588</c:v>
                </c:pt>
                <c:pt idx="417">
                  <c:v>28.888888888888886</c:v>
                </c:pt>
                <c:pt idx="418">
                  <c:v>23.809523809523807</c:v>
                </c:pt>
                <c:pt idx="419">
                  <c:v>27.777777777777779</c:v>
                </c:pt>
                <c:pt idx="420">
                  <c:v>27.777777777777779</c:v>
                </c:pt>
                <c:pt idx="421">
                  <c:v>27.777777777777779</c:v>
                </c:pt>
                <c:pt idx="422">
                  <c:v>31.460674157303369</c:v>
                </c:pt>
                <c:pt idx="423">
                  <c:v>33.333333333333329</c:v>
                </c:pt>
                <c:pt idx="424">
                  <c:v>30.232558139534881</c:v>
                </c:pt>
                <c:pt idx="425">
                  <c:v>33.333333333333329</c:v>
                </c:pt>
                <c:pt idx="426">
                  <c:v>23.809523809523807</c:v>
                </c:pt>
                <c:pt idx="427">
                  <c:v>32.584269662921351</c:v>
                </c:pt>
                <c:pt idx="428">
                  <c:v>31.868131868131865</c:v>
                </c:pt>
                <c:pt idx="429">
                  <c:v>30</c:v>
                </c:pt>
                <c:pt idx="430">
                  <c:v>24.705882352941178</c:v>
                </c:pt>
                <c:pt idx="431">
                  <c:v>32.584269662921351</c:v>
                </c:pt>
                <c:pt idx="432">
                  <c:v>31.868131868131865</c:v>
                </c:pt>
                <c:pt idx="433">
                  <c:v>28.40909090909091</c:v>
                </c:pt>
                <c:pt idx="434">
                  <c:v>27.472527472527474</c:v>
                </c:pt>
                <c:pt idx="435">
                  <c:v>30.76923076923077</c:v>
                </c:pt>
                <c:pt idx="436">
                  <c:v>31.325301204819279</c:v>
                </c:pt>
                <c:pt idx="437">
                  <c:v>28.08988764044944</c:v>
                </c:pt>
                <c:pt idx="438">
                  <c:v>28.888888888888886</c:v>
                </c:pt>
                <c:pt idx="439">
                  <c:v>30.232558139534881</c:v>
                </c:pt>
                <c:pt idx="440">
                  <c:v>28.08988764044944</c:v>
                </c:pt>
                <c:pt idx="441">
                  <c:v>27.710843373493976</c:v>
                </c:pt>
                <c:pt idx="442">
                  <c:v>28.08988764044944</c:v>
                </c:pt>
                <c:pt idx="443">
                  <c:v>30.120481927710845</c:v>
                </c:pt>
                <c:pt idx="444">
                  <c:v>26.666666666666668</c:v>
                </c:pt>
                <c:pt idx="445">
                  <c:v>28.08988764044944</c:v>
                </c:pt>
                <c:pt idx="446">
                  <c:v>28.888888888888886</c:v>
                </c:pt>
                <c:pt idx="447">
                  <c:v>30.487804878048781</c:v>
                </c:pt>
                <c:pt idx="448">
                  <c:v>22.61904761904762</c:v>
                </c:pt>
                <c:pt idx="449">
                  <c:v>31.764705882352938</c:v>
                </c:pt>
                <c:pt idx="450">
                  <c:v>27.777777777777779</c:v>
                </c:pt>
                <c:pt idx="451">
                  <c:v>30.487804878048781</c:v>
                </c:pt>
                <c:pt idx="452">
                  <c:v>28.571428571428569</c:v>
                </c:pt>
                <c:pt idx="453">
                  <c:v>28.571428571428569</c:v>
                </c:pt>
                <c:pt idx="454">
                  <c:v>28.735632183908045</c:v>
                </c:pt>
                <c:pt idx="455">
                  <c:v>31.818181818181817</c:v>
                </c:pt>
                <c:pt idx="456">
                  <c:v>26.666666666666668</c:v>
                </c:pt>
                <c:pt idx="457">
                  <c:v>30.120481927710845</c:v>
                </c:pt>
                <c:pt idx="458">
                  <c:v>28.40909090909091</c:v>
                </c:pt>
                <c:pt idx="459">
                  <c:v>28.40909090909091</c:v>
                </c:pt>
                <c:pt idx="460">
                  <c:v>28.40909090909091</c:v>
                </c:pt>
                <c:pt idx="461">
                  <c:v>30.337078651685395</c:v>
                </c:pt>
                <c:pt idx="462">
                  <c:v>30.487804878048781</c:v>
                </c:pt>
                <c:pt idx="463">
                  <c:v>26.744186046511626</c:v>
                </c:pt>
                <c:pt idx="464">
                  <c:v>29.268292682926827</c:v>
                </c:pt>
                <c:pt idx="465">
                  <c:v>30</c:v>
                </c:pt>
                <c:pt idx="466">
                  <c:v>28.40909090909091</c:v>
                </c:pt>
                <c:pt idx="467">
                  <c:v>23.728813559322035</c:v>
                </c:pt>
                <c:pt idx="468">
                  <c:v>19.35483870967742</c:v>
                </c:pt>
                <c:pt idx="469">
                  <c:v>21.53846153846154</c:v>
                </c:pt>
                <c:pt idx="470">
                  <c:v>18.75</c:v>
                </c:pt>
                <c:pt idx="471">
                  <c:v>25.352112676056336</c:v>
                </c:pt>
                <c:pt idx="472">
                  <c:v>21.739130434782609</c:v>
                </c:pt>
                <c:pt idx="473">
                  <c:v>20.967741935483872</c:v>
                </c:pt>
                <c:pt idx="474">
                  <c:v>23.611111111111111</c:v>
                </c:pt>
                <c:pt idx="475">
                  <c:v>15</c:v>
                </c:pt>
                <c:pt idx="476">
                  <c:v>26.153846153846157</c:v>
                </c:pt>
                <c:pt idx="477">
                  <c:v>19.298245614035086</c:v>
                </c:pt>
                <c:pt idx="478">
                  <c:v>23.333333333333332</c:v>
                </c:pt>
                <c:pt idx="479">
                  <c:v>25.757575757575758</c:v>
                </c:pt>
                <c:pt idx="480">
                  <c:v>35.61643835616438</c:v>
                </c:pt>
                <c:pt idx="481">
                  <c:v>28.735632183908045</c:v>
                </c:pt>
                <c:pt idx="482">
                  <c:v>27.160493827160494</c:v>
                </c:pt>
                <c:pt idx="483">
                  <c:v>27.27272727272727</c:v>
                </c:pt>
                <c:pt idx="484">
                  <c:v>25.274725274725274</c:v>
                </c:pt>
                <c:pt idx="485">
                  <c:v>26.373626373626376</c:v>
                </c:pt>
                <c:pt idx="486">
                  <c:v>21.686746987951807</c:v>
                </c:pt>
                <c:pt idx="487">
                  <c:v>26.666666666666668</c:v>
                </c:pt>
                <c:pt idx="488">
                  <c:v>26.190476190476193</c:v>
                </c:pt>
                <c:pt idx="489">
                  <c:v>26.923076923076923</c:v>
                </c:pt>
                <c:pt idx="490">
                  <c:v>27.27272727272727</c:v>
                </c:pt>
                <c:pt idx="491">
                  <c:v>25.882352941176475</c:v>
                </c:pt>
                <c:pt idx="492">
                  <c:v>29.761904761904763</c:v>
                </c:pt>
                <c:pt idx="493">
                  <c:v>25.609756097560975</c:v>
                </c:pt>
                <c:pt idx="494">
                  <c:v>21.348314606741571</c:v>
                </c:pt>
                <c:pt idx="495">
                  <c:v>20.27027027027027</c:v>
                </c:pt>
                <c:pt idx="496">
                  <c:v>27.906976744186046</c:v>
                </c:pt>
                <c:pt idx="497">
                  <c:v>20.987654320987652</c:v>
                </c:pt>
                <c:pt idx="498">
                  <c:v>27.380952380952383</c:v>
                </c:pt>
                <c:pt idx="499">
                  <c:v>21.111111111111111</c:v>
                </c:pt>
                <c:pt idx="500">
                  <c:v>29.411764705882355</c:v>
                </c:pt>
                <c:pt idx="501">
                  <c:v>26.506024096385545</c:v>
                </c:pt>
                <c:pt idx="502">
                  <c:v>25.316455696202532</c:v>
                </c:pt>
                <c:pt idx="503">
                  <c:v>21.348314606741571</c:v>
                </c:pt>
                <c:pt idx="504">
                  <c:v>25.609756097560975</c:v>
                </c:pt>
                <c:pt idx="505">
                  <c:v>22.535211267605636</c:v>
                </c:pt>
                <c:pt idx="506">
                  <c:v>28.08988764044944</c:v>
                </c:pt>
                <c:pt idx="507">
                  <c:v>24.444444444444443</c:v>
                </c:pt>
                <c:pt idx="508">
                  <c:v>25.274725274725274</c:v>
                </c:pt>
                <c:pt idx="509">
                  <c:v>22.222222222222221</c:v>
                </c:pt>
                <c:pt idx="510">
                  <c:v>20</c:v>
                </c:pt>
                <c:pt idx="511">
                  <c:v>19.047619047619047</c:v>
                </c:pt>
                <c:pt idx="512">
                  <c:v>25.842696629213485</c:v>
                </c:pt>
                <c:pt idx="513">
                  <c:v>25</c:v>
                </c:pt>
                <c:pt idx="514">
                  <c:v>26.506024096385545</c:v>
                </c:pt>
                <c:pt idx="515">
                  <c:v>21.428571428571427</c:v>
                </c:pt>
                <c:pt idx="516">
                  <c:v>22.61904761904762</c:v>
                </c:pt>
                <c:pt idx="517">
                  <c:v>24.444444444444443</c:v>
                </c:pt>
                <c:pt idx="518">
                  <c:v>27.777777777777779</c:v>
                </c:pt>
                <c:pt idx="519">
                  <c:v>23.170731707317074</c:v>
                </c:pt>
                <c:pt idx="520">
                  <c:v>23.376623376623375</c:v>
                </c:pt>
                <c:pt idx="521">
                  <c:v>28.571428571428569</c:v>
                </c:pt>
                <c:pt idx="522">
                  <c:v>24.096385542168676</c:v>
                </c:pt>
                <c:pt idx="523">
                  <c:v>26.506024096385545</c:v>
                </c:pt>
                <c:pt idx="524">
                  <c:v>22.61904761904762</c:v>
                </c:pt>
                <c:pt idx="525">
                  <c:v>22.471910112359549</c:v>
                </c:pt>
                <c:pt idx="526">
                  <c:v>25.581395348837212</c:v>
                </c:pt>
                <c:pt idx="527">
                  <c:v>23.809523809523807</c:v>
                </c:pt>
                <c:pt idx="528">
                  <c:v>23.333333333333332</c:v>
                </c:pt>
                <c:pt idx="529">
                  <c:v>24.675324675324674</c:v>
                </c:pt>
                <c:pt idx="530">
                  <c:v>21.686746987951807</c:v>
                </c:pt>
                <c:pt idx="531">
                  <c:v>32.142857142857146</c:v>
                </c:pt>
                <c:pt idx="532">
                  <c:v>28.235294117647058</c:v>
                </c:pt>
                <c:pt idx="533">
                  <c:v>26.506024096385545</c:v>
                </c:pt>
                <c:pt idx="534">
                  <c:v>23.076923076923077</c:v>
                </c:pt>
                <c:pt idx="535">
                  <c:v>24.719101123595504</c:v>
                </c:pt>
                <c:pt idx="536">
                  <c:v>29.670329670329672</c:v>
                </c:pt>
                <c:pt idx="537">
                  <c:v>27.380952380952383</c:v>
                </c:pt>
                <c:pt idx="538">
                  <c:v>28.205128205128204</c:v>
                </c:pt>
                <c:pt idx="539">
                  <c:v>26.966292134831459</c:v>
                </c:pt>
                <c:pt idx="540">
                  <c:v>22.61904761904762</c:v>
                </c:pt>
                <c:pt idx="541">
                  <c:v>25</c:v>
                </c:pt>
                <c:pt idx="542">
                  <c:v>19.512195121951219</c:v>
                </c:pt>
                <c:pt idx="543">
                  <c:v>28.571428571428569</c:v>
                </c:pt>
                <c:pt idx="544">
                  <c:v>27.777777777777779</c:v>
                </c:pt>
                <c:pt idx="545">
                  <c:v>26.923076923076923</c:v>
                </c:pt>
                <c:pt idx="546">
                  <c:v>22.972972972972975</c:v>
                </c:pt>
                <c:pt idx="547">
                  <c:v>21.428571428571427</c:v>
                </c:pt>
                <c:pt idx="548">
                  <c:v>23.287671232876711</c:v>
                </c:pt>
                <c:pt idx="549">
                  <c:v>21.212121212121211</c:v>
                </c:pt>
                <c:pt idx="550">
                  <c:v>18.461538461538463</c:v>
                </c:pt>
                <c:pt idx="551">
                  <c:v>19.047619047619047</c:v>
                </c:pt>
                <c:pt idx="552">
                  <c:v>25.97402597402597</c:v>
                </c:pt>
                <c:pt idx="553">
                  <c:v>27.397260273972602</c:v>
                </c:pt>
                <c:pt idx="554">
                  <c:v>18.181818181818183</c:v>
                </c:pt>
                <c:pt idx="555">
                  <c:v>27.27272727272727</c:v>
                </c:pt>
                <c:pt idx="556">
                  <c:v>27.27272727272727</c:v>
                </c:pt>
                <c:pt idx="557">
                  <c:v>22.388059701492537</c:v>
                </c:pt>
                <c:pt idx="558">
                  <c:v>22.727272727272727</c:v>
                </c:pt>
                <c:pt idx="559">
                  <c:v>26.153846153846157</c:v>
                </c:pt>
                <c:pt idx="560">
                  <c:v>21.978021978021978</c:v>
                </c:pt>
                <c:pt idx="561">
                  <c:v>24.444444444444443</c:v>
                </c:pt>
                <c:pt idx="562">
                  <c:v>25.301204819277107</c:v>
                </c:pt>
                <c:pt idx="563">
                  <c:v>24.719101123595504</c:v>
                </c:pt>
                <c:pt idx="564">
                  <c:v>21.348314606741571</c:v>
                </c:pt>
                <c:pt idx="565">
                  <c:v>25.316455696202532</c:v>
                </c:pt>
                <c:pt idx="566">
                  <c:v>20</c:v>
                </c:pt>
                <c:pt idx="567">
                  <c:v>23.809523809523807</c:v>
                </c:pt>
                <c:pt idx="568">
                  <c:v>25</c:v>
                </c:pt>
                <c:pt idx="569">
                  <c:v>28.08988764044944</c:v>
                </c:pt>
                <c:pt idx="570">
                  <c:v>32.584269662921351</c:v>
                </c:pt>
                <c:pt idx="571">
                  <c:v>24.444444444444443</c:v>
                </c:pt>
                <c:pt idx="572">
                  <c:v>25.274725274725274</c:v>
                </c:pt>
                <c:pt idx="573">
                  <c:v>26.666666666666668</c:v>
                </c:pt>
                <c:pt idx="574">
                  <c:v>22.61904761904762</c:v>
                </c:pt>
                <c:pt idx="575">
                  <c:v>25.842696629213485</c:v>
                </c:pt>
                <c:pt idx="576">
                  <c:v>30</c:v>
                </c:pt>
                <c:pt idx="577">
                  <c:v>29.213483146067414</c:v>
                </c:pt>
                <c:pt idx="578">
                  <c:v>23.595505617977526</c:v>
                </c:pt>
                <c:pt idx="579">
                  <c:v>29.411764705882355</c:v>
                </c:pt>
                <c:pt idx="580">
                  <c:v>29.411764705882355</c:v>
                </c:pt>
                <c:pt idx="581">
                  <c:v>26.190476190476193</c:v>
                </c:pt>
                <c:pt idx="582">
                  <c:v>22.352941176470591</c:v>
                </c:pt>
                <c:pt idx="583">
                  <c:v>22.784810126582279</c:v>
                </c:pt>
                <c:pt idx="584">
                  <c:v>25</c:v>
                </c:pt>
                <c:pt idx="585">
                  <c:v>24.444444444444443</c:v>
                </c:pt>
                <c:pt idx="586">
                  <c:v>22.222222222222221</c:v>
                </c:pt>
                <c:pt idx="587">
                  <c:v>22.352941176470591</c:v>
                </c:pt>
                <c:pt idx="588">
                  <c:v>26.923076923076923</c:v>
                </c:pt>
                <c:pt idx="589">
                  <c:v>30.37974683544304</c:v>
                </c:pt>
                <c:pt idx="590">
                  <c:v>25</c:v>
                </c:pt>
                <c:pt idx="591">
                  <c:v>25.609756097560975</c:v>
                </c:pt>
                <c:pt idx="592">
                  <c:v>25</c:v>
                </c:pt>
                <c:pt idx="593">
                  <c:v>26.966292134831459</c:v>
                </c:pt>
                <c:pt idx="594">
                  <c:v>27.380952380952383</c:v>
                </c:pt>
                <c:pt idx="595">
                  <c:v>20.987654320987652</c:v>
                </c:pt>
                <c:pt idx="596">
                  <c:v>22.891566265060241</c:v>
                </c:pt>
                <c:pt idx="597">
                  <c:v>25.316455696202532</c:v>
                </c:pt>
                <c:pt idx="598">
                  <c:v>26.373626373626376</c:v>
                </c:pt>
                <c:pt idx="599">
                  <c:v>29.213483146067414</c:v>
                </c:pt>
                <c:pt idx="600">
                  <c:v>25.274725274725274</c:v>
                </c:pt>
                <c:pt idx="601">
                  <c:v>22.222222222222221</c:v>
                </c:pt>
                <c:pt idx="602">
                  <c:v>23.809523809523807</c:v>
                </c:pt>
                <c:pt idx="603">
                  <c:v>25.274725274725274</c:v>
                </c:pt>
                <c:pt idx="604">
                  <c:v>26.25</c:v>
                </c:pt>
                <c:pt idx="605">
                  <c:v>27.848101265822784</c:v>
                </c:pt>
                <c:pt idx="606">
                  <c:v>29.629629629629626</c:v>
                </c:pt>
                <c:pt idx="607">
                  <c:v>31.395348837209301</c:v>
                </c:pt>
                <c:pt idx="608">
                  <c:v>27.710843373493976</c:v>
                </c:pt>
                <c:pt idx="609">
                  <c:v>28.735632183908045</c:v>
                </c:pt>
                <c:pt idx="610">
                  <c:v>29.850746268656714</c:v>
                </c:pt>
                <c:pt idx="611">
                  <c:v>27.848101265822784</c:v>
                </c:pt>
                <c:pt idx="612">
                  <c:v>25</c:v>
                </c:pt>
                <c:pt idx="613">
                  <c:v>27.906976744186046</c:v>
                </c:pt>
                <c:pt idx="614">
                  <c:v>30.136986301369863</c:v>
                </c:pt>
                <c:pt idx="615">
                  <c:v>29.268292682926827</c:v>
                </c:pt>
                <c:pt idx="616">
                  <c:v>27.777777777777779</c:v>
                </c:pt>
                <c:pt idx="617">
                  <c:v>26.666666666666668</c:v>
                </c:pt>
                <c:pt idx="618">
                  <c:v>27.160493827160494</c:v>
                </c:pt>
                <c:pt idx="619">
                  <c:v>30</c:v>
                </c:pt>
                <c:pt idx="620">
                  <c:v>28.260869565217391</c:v>
                </c:pt>
                <c:pt idx="621">
                  <c:v>30.76923076923077</c:v>
                </c:pt>
                <c:pt idx="622">
                  <c:v>32.5</c:v>
                </c:pt>
                <c:pt idx="623">
                  <c:v>23.595505617977526</c:v>
                </c:pt>
                <c:pt idx="624">
                  <c:v>29.850746268656714</c:v>
                </c:pt>
                <c:pt idx="625">
                  <c:v>29.870129870129869</c:v>
                </c:pt>
                <c:pt idx="626">
                  <c:v>27.173913043478258</c:v>
                </c:pt>
                <c:pt idx="627">
                  <c:v>27.777777777777779</c:v>
                </c:pt>
                <c:pt idx="628">
                  <c:v>30.952380952380953</c:v>
                </c:pt>
                <c:pt idx="629">
                  <c:v>28.235294117647058</c:v>
                </c:pt>
                <c:pt idx="630">
                  <c:v>29.069767441860467</c:v>
                </c:pt>
                <c:pt idx="631">
                  <c:v>27.777777777777779</c:v>
                </c:pt>
                <c:pt idx="632">
                  <c:v>28.915662650602407</c:v>
                </c:pt>
                <c:pt idx="633">
                  <c:v>30.487804878048781</c:v>
                </c:pt>
                <c:pt idx="634">
                  <c:v>28.260869565217391</c:v>
                </c:pt>
                <c:pt idx="635">
                  <c:v>24.358974358974358</c:v>
                </c:pt>
                <c:pt idx="636">
                  <c:v>26.966292134831459</c:v>
                </c:pt>
                <c:pt idx="637">
                  <c:v>26.984126984126984</c:v>
                </c:pt>
                <c:pt idx="638">
                  <c:v>28.235294117647058</c:v>
                </c:pt>
                <c:pt idx="639">
                  <c:v>27.586206896551722</c:v>
                </c:pt>
                <c:pt idx="640">
                  <c:v>34.444444444444443</c:v>
                </c:pt>
                <c:pt idx="641">
                  <c:v>35</c:v>
                </c:pt>
                <c:pt idx="642">
                  <c:v>40.963855421686745</c:v>
                </c:pt>
                <c:pt idx="643">
                  <c:v>36.585365853658537</c:v>
                </c:pt>
                <c:pt idx="644">
                  <c:v>36.585365853658537</c:v>
                </c:pt>
                <c:pt idx="645">
                  <c:v>36.585365853658537</c:v>
                </c:pt>
                <c:pt idx="646">
                  <c:v>36.585365853658537</c:v>
                </c:pt>
                <c:pt idx="647">
                  <c:v>40</c:v>
                </c:pt>
                <c:pt idx="648">
                  <c:v>40</c:v>
                </c:pt>
                <c:pt idx="649">
                  <c:v>35.227272727272727</c:v>
                </c:pt>
                <c:pt idx="650">
                  <c:v>39.506172839506171</c:v>
                </c:pt>
                <c:pt idx="651">
                  <c:v>34.090909090909086</c:v>
                </c:pt>
                <c:pt idx="652">
                  <c:v>37.804878048780488</c:v>
                </c:pt>
                <c:pt idx="653">
                  <c:v>33.333333333333329</c:v>
                </c:pt>
                <c:pt idx="654">
                  <c:v>35.955056179775283</c:v>
                </c:pt>
                <c:pt idx="655">
                  <c:v>40</c:v>
                </c:pt>
                <c:pt idx="656">
                  <c:v>35.955056179775283</c:v>
                </c:pt>
                <c:pt idx="657">
                  <c:v>32.5</c:v>
                </c:pt>
                <c:pt idx="658">
                  <c:v>35.365853658536587</c:v>
                </c:pt>
                <c:pt idx="659">
                  <c:v>34.831460674157306</c:v>
                </c:pt>
                <c:pt idx="660">
                  <c:v>28.571428571428569</c:v>
                </c:pt>
                <c:pt idx="661">
                  <c:v>28.571428571428569</c:v>
                </c:pt>
                <c:pt idx="662">
                  <c:v>29.069767441860467</c:v>
                </c:pt>
                <c:pt idx="663">
                  <c:v>29.069767441860467</c:v>
                </c:pt>
                <c:pt idx="664">
                  <c:v>28.888888888888886</c:v>
                </c:pt>
                <c:pt idx="665">
                  <c:v>28.08988764044944</c:v>
                </c:pt>
                <c:pt idx="666">
                  <c:v>27.173913043478258</c:v>
                </c:pt>
                <c:pt idx="667">
                  <c:v>27.173913043478258</c:v>
                </c:pt>
                <c:pt idx="668">
                  <c:v>32.87671232876712</c:v>
                </c:pt>
                <c:pt idx="669">
                  <c:v>27.472527472527474</c:v>
                </c:pt>
                <c:pt idx="670">
                  <c:v>31.645569620253166</c:v>
                </c:pt>
                <c:pt idx="671">
                  <c:v>25.581395348837212</c:v>
                </c:pt>
                <c:pt idx="672">
                  <c:v>28.571428571428569</c:v>
                </c:pt>
                <c:pt idx="673">
                  <c:v>26.373626373626376</c:v>
                </c:pt>
                <c:pt idx="674">
                  <c:v>30.120481927710845</c:v>
                </c:pt>
                <c:pt idx="675">
                  <c:v>27.906976744186046</c:v>
                </c:pt>
                <c:pt idx="676">
                  <c:v>24.418604651162788</c:v>
                </c:pt>
                <c:pt idx="677">
                  <c:v>28.571428571428569</c:v>
                </c:pt>
                <c:pt idx="678">
                  <c:v>29.670329670329672</c:v>
                </c:pt>
                <c:pt idx="679">
                  <c:v>30.952380952380953</c:v>
                </c:pt>
                <c:pt idx="680">
                  <c:v>26.373626373626376</c:v>
                </c:pt>
                <c:pt idx="681">
                  <c:v>29.11392405063291</c:v>
                </c:pt>
                <c:pt idx="682">
                  <c:v>27.160493827160494</c:v>
                </c:pt>
                <c:pt idx="683">
                  <c:v>25.287356321839084</c:v>
                </c:pt>
                <c:pt idx="684">
                  <c:v>27.173913043478258</c:v>
                </c:pt>
                <c:pt idx="685">
                  <c:v>29.761904761904763</c:v>
                </c:pt>
                <c:pt idx="686">
                  <c:v>25.842696629213485</c:v>
                </c:pt>
                <c:pt idx="687">
                  <c:v>29.670329670329672</c:v>
                </c:pt>
                <c:pt idx="688">
                  <c:v>30.76923076923077</c:v>
                </c:pt>
                <c:pt idx="689">
                  <c:v>31.764705882352938</c:v>
                </c:pt>
                <c:pt idx="690">
                  <c:v>27.472527472527474</c:v>
                </c:pt>
                <c:pt idx="691">
                  <c:v>26.136363636363637</c:v>
                </c:pt>
                <c:pt idx="692">
                  <c:v>30.588235294117649</c:v>
                </c:pt>
                <c:pt idx="693">
                  <c:v>31.645569620253166</c:v>
                </c:pt>
                <c:pt idx="694">
                  <c:v>27.906976744186046</c:v>
                </c:pt>
                <c:pt idx="695">
                  <c:v>29.670329670329672</c:v>
                </c:pt>
                <c:pt idx="696">
                  <c:v>25</c:v>
                </c:pt>
                <c:pt idx="697">
                  <c:v>28.571428571428569</c:v>
                </c:pt>
                <c:pt idx="698">
                  <c:v>26.086956521739129</c:v>
                </c:pt>
                <c:pt idx="699">
                  <c:v>32.098765432098766</c:v>
                </c:pt>
                <c:pt idx="700">
                  <c:v>24.444444444444443</c:v>
                </c:pt>
                <c:pt idx="701">
                  <c:v>30.952380952380953</c:v>
                </c:pt>
                <c:pt idx="702">
                  <c:v>24.418604651162788</c:v>
                </c:pt>
                <c:pt idx="703">
                  <c:v>30.232558139534881</c:v>
                </c:pt>
                <c:pt idx="704">
                  <c:v>30.588235294117649</c:v>
                </c:pt>
                <c:pt idx="705">
                  <c:v>27.472527472527474</c:v>
                </c:pt>
                <c:pt idx="706">
                  <c:v>30.588235294117649</c:v>
                </c:pt>
                <c:pt idx="707">
                  <c:v>30.588235294117649</c:v>
                </c:pt>
                <c:pt idx="708">
                  <c:v>27.380952380952383</c:v>
                </c:pt>
                <c:pt idx="709">
                  <c:v>29.347826086956523</c:v>
                </c:pt>
                <c:pt idx="710">
                  <c:v>30.952380952380953</c:v>
                </c:pt>
                <c:pt idx="711">
                  <c:v>27.777777777777779</c:v>
                </c:pt>
                <c:pt idx="712">
                  <c:v>26.966292134831459</c:v>
                </c:pt>
                <c:pt idx="713">
                  <c:v>26.315789473684209</c:v>
                </c:pt>
                <c:pt idx="714">
                  <c:v>36.144578313253014</c:v>
                </c:pt>
                <c:pt idx="715">
                  <c:v>30.487804878048781</c:v>
                </c:pt>
                <c:pt idx="716">
                  <c:v>25.842696629213485</c:v>
                </c:pt>
                <c:pt idx="717">
                  <c:v>33.333333333333329</c:v>
                </c:pt>
                <c:pt idx="718">
                  <c:v>30.952380952380953</c:v>
                </c:pt>
                <c:pt idx="719">
                  <c:v>26.744186046511626</c:v>
                </c:pt>
                <c:pt idx="720">
                  <c:v>35.365853658536587</c:v>
                </c:pt>
                <c:pt idx="721">
                  <c:v>35.365853658536587</c:v>
                </c:pt>
                <c:pt idx="722">
                  <c:v>36.470588235294116</c:v>
                </c:pt>
                <c:pt idx="723">
                  <c:v>34.444444444444443</c:v>
                </c:pt>
                <c:pt idx="724">
                  <c:v>38.636363636363633</c:v>
                </c:pt>
                <c:pt idx="725">
                  <c:v>36.363636363636367</c:v>
                </c:pt>
                <c:pt idx="726">
                  <c:v>40.476190476190474</c:v>
                </c:pt>
                <c:pt idx="727">
                  <c:v>40.476190476190474</c:v>
                </c:pt>
                <c:pt idx="728">
                  <c:v>40.476190476190474</c:v>
                </c:pt>
                <c:pt idx="729">
                  <c:v>43.589743589743591</c:v>
                </c:pt>
                <c:pt idx="730">
                  <c:v>43.589743589743591</c:v>
                </c:pt>
                <c:pt idx="731">
                  <c:v>36.363636363636367</c:v>
                </c:pt>
                <c:pt idx="732">
                  <c:v>41.558441558441558</c:v>
                </c:pt>
                <c:pt idx="733">
                  <c:v>36.363636363636367</c:v>
                </c:pt>
                <c:pt idx="734">
                  <c:v>36.363636363636367</c:v>
                </c:pt>
                <c:pt idx="735">
                  <c:v>36.363636363636367</c:v>
                </c:pt>
                <c:pt idx="736">
                  <c:v>36.363636363636367</c:v>
                </c:pt>
                <c:pt idx="737">
                  <c:v>35.955056179775283</c:v>
                </c:pt>
                <c:pt idx="738">
                  <c:v>35.227272727272727</c:v>
                </c:pt>
                <c:pt idx="739">
                  <c:v>34.831460674157306</c:v>
                </c:pt>
                <c:pt idx="740">
                  <c:v>36.363636363636367</c:v>
                </c:pt>
                <c:pt idx="741">
                  <c:v>37.209302325581397</c:v>
                </c:pt>
                <c:pt idx="742">
                  <c:v>36.144578313253014</c:v>
                </c:pt>
                <c:pt idx="743">
                  <c:v>36.144578313253014</c:v>
                </c:pt>
                <c:pt idx="744">
                  <c:v>34.939759036144579</c:v>
                </c:pt>
                <c:pt idx="745">
                  <c:v>34.177215189873415</c:v>
                </c:pt>
                <c:pt idx="746">
                  <c:v>38.356164383561641</c:v>
                </c:pt>
                <c:pt idx="747">
                  <c:v>41.53846153846154</c:v>
                </c:pt>
                <c:pt idx="748">
                  <c:v>39.189189189189186</c:v>
                </c:pt>
                <c:pt idx="749">
                  <c:v>41.25</c:v>
                </c:pt>
                <c:pt idx="750">
                  <c:v>34.831460674157306</c:v>
                </c:pt>
                <c:pt idx="751">
                  <c:v>35.632183908045981</c:v>
                </c:pt>
                <c:pt idx="752">
                  <c:v>40</c:v>
                </c:pt>
                <c:pt idx="753">
                  <c:v>35.955056179775283</c:v>
                </c:pt>
                <c:pt idx="754">
                  <c:v>35.714285714285715</c:v>
                </c:pt>
                <c:pt idx="755">
                  <c:v>36.585365853658537</c:v>
                </c:pt>
                <c:pt idx="756">
                  <c:v>40.963855421686745</c:v>
                </c:pt>
                <c:pt idx="757">
                  <c:v>37.209302325581397</c:v>
                </c:pt>
                <c:pt idx="758">
                  <c:v>36.363636363636367</c:v>
                </c:pt>
                <c:pt idx="759">
                  <c:v>32.941176470588232</c:v>
                </c:pt>
                <c:pt idx="760">
                  <c:v>37.037037037037038</c:v>
                </c:pt>
                <c:pt idx="761">
                  <c:v>42.105263157894733</c:v>
                </c:pt>
                <c:pt idx="762">
                  <c:v>34.831460674157306</c:v>
                </c:pt>
                <c:pt idx="763">
                  <c:v>38.271604938271601</c:v>
                </c:pt>
                <c:pt idx="764">
                  <c:v>39.75903614457831</c:v>
                </c:pt>
                <c:pt idx="765">
                  <c:v>32.5</c:v>
                </c:pt>
                <c:pt idx="766">
                  <c:v>38.888888888888893</c:v>
                </c:pt>
                <c:pt idx="767">
                  <c:v>39.743589743589745</c:v>
                </c:pt>
                <c:pt idx="768">
                  <c:v>37.837837837837839</c:v>
                </c:pt>
                <c:pt idx="769">
                  <c:v>34.831460674157306</c:v>
                </c:pt>
                <c:pt idx="770">
                  <c:v>36.666666666666664</c:v>
                </c:pt>
                <c:pt idx="771">
                  <c:v>35.365853658536587</c:v>
                </c:pt>
                <c:pt idx="772">
                  <c:v>39.75903614457831</c:v>
                </c:pt>
                <c:pt idx="773">
                  <c:v>35.714285714285715</c:v>
                </c:pt>
                <c:pt idx="774">
                  <c:v>37.804878048780488</c:v>
                </c:pt>
                <c:pt idx="775">
                  <c:v>42.168674698795186</c:v>
                </c:pt>
                <c:pt idx="776">
                  <c:v>37.078651685393261</c:v>
                </c:pt>
                <c:pt idx="777">
                  <c:v>40.579710144927539</c:v>
                </c:pt>
                <c:pt idx="778">
                  <c:v>33.333333333333329</c:v>
                </c:pt>
                <c:pt idx="779">
                  <c:v>39.024390243902438</c:v>
                </c:pt>
                <c:pt idx="780">
                  <c:v>40.579710144927539</c:v>
                </c:pt>
                <c:pt idx="781">
                  <c:v>33.75</c:v>
                </c:pt>
                <c:pt idx="782">
                  <c:v>40.579710144927539</c:v>
                </c:pt>
                <c:pt idx="783">
                  <c:v>42.105263157894733</c:v>
                </c:pt>
                <c:pt idx="784">
                  <c:v>37.804878048780488</c:v>
                </c:pt>
                <c:pt idx="785">
                  <c:v>37.974683544303801</c:v>
                </c:pt>
                <c:pt idx="786">
                  <c:v>37.5</c:v>
                </c:pt>
                <c:pt idx="787">
                  <c:v>35.365853658536587</c:v>
                </c:pt>
                <c:pt idx="788">
                  <c:v>40.579710144927539</c:v>
                </c:pt>
                <c:pt idx="789">
                  <c:v>35.294117647058826</c:v>
                </c:pt>
                <c:pt idx="790">
                  <c:v>38.554216867469883</c:v>
                </c:pt>
                <c:pt idx="791">
                  <c:v>39.285714285714285</c:v>
                </c:pt>
                <c:pt idx="792">
                  <c:v>43.243243243243242</c:v>
                </c:pt>
                <c:pt idx="793">
                  <c:v>43.75</c:v>
                </c:pt>
                <c:pt idx="794">
                  <c:v>43.037974683544306</c:v>
                </c:pt>
                <c:pt idx="795">
                  <c:v>38.356164383561641</c:v>
                </c:pt>
                <c:pt idx="796">
                  <c:v>38.82352941176471</c:v>
                </c:pt>
                <c:pt idx="797">
                  <c:v>35.555555555555557</c:v>
                </c:pt>
                <c:pt idx="798">
                  <c:v>35.955056179775283</c:v>
                </c:pt>
                <c:pt idx="799">
                  <c:v>37.179487179487182</c:v>
                </c:pt>
              </c:numCache>
            </c:numRef>
          </c:yVal>
          <c:smooth val="0"/>
          <c:extLst>
            <c:ext xmlns:c16="http://schemas.microsoft.com/office/drawing/2014/chart" uri="{C3380CC4-5D6E-409C-BE32-E72D297353CC}">
              <c16:uniqueId val="{00000001-B806-1B43-BC70-5351BADD4184}"/>
            </c:ext>
          </c:extLst>
        </c:ser>
        <c:dLbls>
          <c:showLegendKey val="0"/>
          <c:showVal val="0"/>
          <c:showCatName val="0"/>
          <c:showSerName val="0"/>
          <c:showPercent val="0"/>
          <c:showBubbleSize val="0"/>
        </c:dLbls>
        <c:axId val="1356952271"/>
        <c:axId val="1"/>
      </c:scatterChart>
      <c:valAx>
        <c:axId val="1356952271"/>
        <c:scaling>
          <c:orientation val="minMax"/>
        </c:scaling>
        <c:delete val="0"/>
        <c:axPos val="b"/>
        <c:majorGridlines>
          <c:spPr>
            <a:ln w="9525" cap="flat" cmpd="sng" algn="ctr">
              <a:solidFill>
                <a:schemeClr val="tx1">
                  <a:lumMod val="15000"/>
                  <a:lumOff val="85000"/>
                </a:schemeClr>
              </a:solidFill>
              <a:round/>
            </a:ln>
            <a:effectLst/>
          </c:spPr>
        </c:majorGridlines>
        <c:title>
          <c:tx>
            <c:rich>
              <a:bodyPr/>
              <a:lstStyle/>
              <a:p>
                <a:pPr>
                  <a:defRPr/>
                </a:pPr>
                <a:r>
                  <a:rPr lang="en-US" dirty="0" err="1"/>
                  <a:t>Schematron</a:t>
                </a:r>
                <a:r>
                  <a:rPr lang="en-US" baseline="0" dirty="0"/>
                  <a:t> Errors/Count (%)</a:t>
                </a:r>
                <a:endParaRPr lang="en-US" dirty="0"/>
              </a:p>
            </c:rich>
          </c:tx>
          <c:overlay val="0"/>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0" vert="horz"/>
          <a:lstStyle/>
          <a:p>
            <a:pPr>
              <a:defRPr sz="900" b="0" i="0" u="none" strike="noStrike" baseline="0">
                <a:solidFill>
                  <a:srgbClr val="333333"/>
                </a:solidFill>
                <a:latin typeface="Calibri"/>
                <a:ea typeface="Calibri"/>
                <a:cs typeface="Calibri"/>
              </a:defRPr>
            </a:pPr>
            <a:endParaRPr lang="en-US"/>
          </a:p>
        </c:txPr>
        <c:crossAx val="1"/>
        <c:crosses val="autoZero"/>
        <c:crossBetween val="midCat"/>
      </c:valAx>
      <c:valAx>
        <c:axId val="1"/>
        <c:scaling>
          <c:orientation val="minMax"/>
        </c:scaling>
        <c:delete val="0"/>
        <c:axPos val="l"/>
        <c:majorGridlines>
          <c:spPr>
            <a:ln w="9525" cap="flat" cmpd="sng" algn="ctr">
              <a:solidFill>
                <a:schemeClr val="tx1">
                  <a:lumMod val="15000"/>
                  <a:lumOff val="85000"/>
                </a:schemeClr>
              </a:solidFill>
              <a:round/>
            </a:ln>
            <a:effectLst/>
          </c:spPr>
        </c:majorGridlines>
        <c:title>
          <c:tx>
            <c:rich>
              <a:bodyPr/>
              <a:lstStyle/>
              <a:p>
                <a:pPr>
                  <a:defRPr/>
                </a:pPr>
                <a:r>
                  <a:rPr lang="en-US"/>
                  <a:t>Completeness Violations/Count</a:t>
                </a:r>
                <a:r>
                  <a:rPr lang="en-US" baseline="0"/>
                  <a:t> (%)</a:t>
                </a:r>
                <a:endParaRPr lang="en-US"/>
              </a:p>
            </c:rich>
          </c:tx>
          <c:layout>
            <c:manualLayout>
              <c:xMode val="edge"/>
              <c:yMode val="edge"/>
              <c:x val="2.5555556673471421E-2"/>
              <c:y val="0.18327131559729984"/>
            </c:manualLayout>
          </c:layout>
          <c:overlay val="0"/>
        </c:title>
        <c:numFmt formatCode="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56952271"/>
        <c:crosses val="autoZero"/>
        <c:crossBetween val="midCat"/>
      </c:valAx>
      <c:spPr>
        <a:noFill/>
        <a:ln w="25400">
          <a:noFill/>
        </a:ln>
      </c:spPr>
    </c:plotArea>
    <c:plotVisOnly val="1"/>
    <c:dispBlanksAs val="gap"/>
    <c:showDLblsOverMax val="0"/>
  </c:chart>
  <c:spPr>
    <a:solidFill>
      <a:schemeClr val="bg1"/>
    </a:solidFill>
    <a:ln w="9525" cap="flat" cmpd="sng" algn="ctr">
      <a:solidFill>
        <a:schemeClr val="tx1">
          <a:lumMod val="15000"/>
          <a:lumOff val="85000"/>
        </a:schemeClr>
      </a:solidFill>
      <a:round/>
    </a:ln>
    <a:effectLst/>
  </c:spPr>
  <c:txPr>
    <a:bodyPr/>
    <a:lstStyle/>
    <a:p>
      <a:pPr>
        <a:defRPr/>
      </a:pPr>
      <a:endParaRPr lang="en-US"/>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cap="none" spc="20" baseline="0">
                <a:solidFill>
                  <a:schemeClr val="bg1"/>
                </a:solidFill>
                <a:latin typeface="+mn-lt"/>
                <a:ea typeface="+mn-ea"/>
                <a:cs typeface="+mn-cs"/>
              </a:defRPr>
            </a:pPr>
            <a:r>
              <a:rPr lang="en-US"/>
              <a:t>Violations/Size (MB) by Language</a:t>
            </a:r>
          </a:p>
        </c:rich>
      </c:tx>
      <c:overlay val="0"/>
      <c:spPr>
        <a:noFill/>
        <a:ln>
          <a:noFill/>
        </a:ln>
        <a:effectLst/>
      </c:spPr>
      <c:txPr>
        <a:bodyPr rot="0" spcFirstLastPara="1" vertOverflow="ellipsis" vert="horz" wrap="square" anchor="ctr" anchorCtr="1"/>
        <a:lstStyle/>
        <a:p>
          <a:pPr>
            <a:defRPr sz="1862" b="0" i="0" u="none" strike="noStrike" kern="1200" cap="none" spc="20" baseline="0">
              <a:solidFill>
                <a:schemeClr val="bg1"/>
              </a:solidFill>
              <a:latin typeface="+mn-lt"/>
              <a:ea typeface="+mn-ea"/>
              <a:cs typeface="+mn-cs"/>
            </a:defRPr>
          </a:pPr>
          <a:endParaRPr lang="en-US"/>
        </a:p>
      </c:txPr>
    </c:title>
    <c:autoTitleDeleted val="0"/>
    <c:plotArea>
      <c:layout/>
      <c:barChart>
        <c:barDir val="col"/>
        <c:grouping val="clustered"/>
        <c:varyColors val="0"/>
        <c:ser>
          <c:idx val="0"/>
          <c:order val="0"/>
          <c:tx>
            <c:strRef>
              <c:f>Graphs_Abstract_Median!$C$64</c:f>
              <c:strCache>
                <c:ptCount val="1"/>
                <c:pt idx="0">
                  <c:v>completeness violations/size (MB)</c:v>
                </c:pt>
              </c:strCache>
            </c:strRef>
          </c:tx>
          <c:spPr>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chemeClr>
              </a:solidFill>
              <a:round/>
            </a:ln>
            <a:effectLst>
              <a:outerShdw blurRad="40000" dist="20000" dir="5400000" rotWithShape="0">
                <a:srgbClr val="000000">
                  <a:alpha val="38000"/>
                </a:srgbClr>
              </a:outerShdw>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Graphs_Abstract_Median!$B$65:$B$67</c:f>
              <c:strCache>
                <c:ptCount val="3"/>
                <c:pt idx="0">
                  <c:v>English (34386)</c:v>
                </c:pt>
                <c:pt idx="1">
                  <c:v>Spanish (1224)</c:v>
                </c:pt>
                <c:pt idx="2">
                  <c:v>Other (4632)</c:v>
                </c:pt>
              </c:strCache>
            </c:strRef>
          </c:cat>
          <c:val>
            <c:numRef>
              <c:f>Graphs_Abstract_Median!$C$65:$C$67</c:f>
              <c:numCache>
                <c:formatCode>0.00</c:formatCode>
                <c:ptCount val="3"/>
                <c:pt idx="0">
                  <c:v>53.223060992599827</c:v>
                </c:pt>
                <c:pt idx="1">
                  <c:v>66.158787325662885</c:v>
                </c:pt>
                <c:pt idx="2">
                  <c:v>107.87882951937628</c:v>
                </c:pt>
              </c:numCache>
            </c:numRef>
          </c:val>
          <c:extLst>
            <c:ext xmlns:c16="http://schemas.microsoft.com/office/drawing/2014/chart" uri="{C3380CC4-5D6E-409C-BE32-E72D297353CC}">
              <c16:uniqueId val="{00000000-1D24-4F17-BE98-D3CE41344A5A}"/>
            </c:ext>
          </c:extLst>
        </c:ser>
        <c:ser>
          <c:idx val="1"/>
          <c:order val="1"/>
          <c:tx>
            <c:strRef>
              <c:f>Graphs_Abstract_Median!$D$64</c:f>
              <c:strCache>
                <c:ptCount val="1"/>
                <c:pt idx="0">
                  <c:v>syntax violations/size (MB)</c:v>
                </c:pt>
              </c:strCache>
            </c:strRef>
          </c:tx>
          <c:spPr>
            <a:gradFill rotWithShape="1">
              <a:gsLst>
                <a:gs pos="0">
                  <a:schemeClr val="accent2">
                    <a:tint val="50000"/>
                    <a:satMod val="300000"/>
                  </a:schemeClr>
                </a:gs>
                <a:gs pos="35000">
                  <a:schemeClr val="accent2">
                    <a:tint val="37000"/>
                    <a:satMod val="300000"/>
                  </a:schemeClr>
                </a:gs>
                <a:gs pos="100000">
                  <a:schemeClr val="accent2">
                    <a:tint val="15000"/>
                    <a:satMod val="350000"/>
                  </a:schemeClr>
                </a:gs>
              </a:gsLst>
              <a:lin ang="16200000" scaled="1"/>
            </a:gradFill>
            <a:ln w="9525" cap="flat" cmpd="sng" algn="ctr">
              <a:solidFill>
                <a:schemeClr val="accent2">
                  <a:shade val="95000"/>
                </a:schemeClr>
              </a:solidFill>
              <a:round/>
            </a:ln>
            <a:effectLst>
              <a:outerShdw blurRad="40000" dist="20000" dir="5400000" rotWithShape="0">
                <a:srgbClr val="000000">
                  <a:alpha val="38000"/>
                </a:srgbClr>
              </a:outerShdw>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Graphs_Abstract_Median!$B$65:$B$67</c:f>
              <c:strCache>
                <c:ptCount val="3"/>
                <c:pt idx="0">
                  <c:v>English (34386)</c:v>
                </c:pt>
                <c:pt idx="1">
                  <c:v>Spanish (1224)</c:v>
                </c:pt>
                <c:pt idx="2">
                  <c:v>Other (4632)</c:v>
                </c:pt>
              </c:strCache>
            </c:strRef>
          </c:cat>
          <c:val>
            <c:numRef>
              <c:f>Graphs_Abstract_Median!$D$65:$D$67</c:f>
              <c:numCache>
                <c:formatCode>0.00</c:formatCode>
                <c:ptCount val="3"/>
                <c:pt idx="0">
                  <c:v>35.784040225255467</c:v>
                </c:pt>
                <c:pt idx="1">
                  <c:v>49.135708239687709</c:v>
                </c:pt>
                <c:pt idx="2">
                  <c:v>48.718078708725088</c:v>
                </c:pt>
              </c:numCache>
            </c:numRef>
          </c:val>
          <c:extLst>
            <c:ext xmlns:c16="http://schemas.microsoft.com/office/drawing/2014/chart" uri="{C3380CC4-5D6E-409C-BE32-E72D297353CC}">
              <c16:uniqueId val="{00000001-1D24-4F17-BE98-D3CE41344A5A}"/>
            </c:ext>
          </c:extLst>
        </c:ser>
        <c:dLbls>
          <c:dLblPos val="outEnd"/>
          <c:showLegendKey val="0"/>
          <c:showVal val="1"/>
          <c:showCatName val="0"/>
          <c:showSerName val="0"/>
          <c:showPercent val="0"/>
          <c:showBubbleSize val="0"/>
        </c:dLbls>
        <c:gapWidth val="100"/>
        <c:overlap val="-24"/>
        <c:axId val="29644815"/>
        <c:axId val="29647247"/>
      </c:barChart>
      <c:catAx>
        <c:axId val="29644815"/>
        <c:scaling>
          <c:orientation val="minMax"/>
        </c:scaling>
        <c:delete val="0"/>
        <c:axPos val="b"/>
        <c:title>
          <c:tx>
            <c:rich>
              <a:bodyPr rot="0" spcFirstLastPara="1" vertOverflow="ellipsis" vert="horz" wrap="square" anchor="ctr" anchorCtr="1"/>
              <a:lstStyle/>
              <a:p>
                <a:pPr>
                  <a:defRPr sz="1197" b="0" i="0" u="none" strike="noStrike" kern="1200" cap="all" baseline="0">
                    <a:solidFill>
                      <a:schemeClr val="bg1"/>
                    </a:solidFill>
                    <a:latin typeface="+mn-lt"/>
                    <a:ea typeface="+mn-ea"/>
                    <a:cs typeface="+mn-cs"/>
                  </a:defRPr>
                </a:pPr>
                <a:r>
                  <a:rPr lang="en-US"/>
                  <a:t>Language</a:t>
                </a:r>
              </a:p>
            </c:rich>
          </c:tx>
          <c:overlay val="0"/>
          <c:spPr>
            <a:noFill/>
            <a:ln>
              <a:noFill/>
            </a:ln>
            <a:effectLst/>
          </c:spPr>
          <c:txPr>
            <a:bodyPr rot="0" spcFirstLastPara="1" vertOverflow="ellipsis" vert="horz" wrap="square" anchor="ctr" anchorCtr="1"/>
            <a:lstStyle/>
            <a:p>
              <a:pPr>
                <a:defRPr sz="1197" b="0" i="0" u="none" strike="noStrike" kern="1200" cap="all" baseline="0">
                  <a:solidFill>
                    <a:schemeClr val="bg1"/>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crossAx val="29647247"/>
        <c:crosses val="autoZero"/>
        <c:auto val="1"/>
        <c:lblAlgn val="ctr"/>
        <c:lblOffset val="100"/>
        <c:noMultiLvlLbl val="0"/>
      </c:catAx>
      <c:valAx>
        <c:axId val="29647247"/>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197" b="0" i="0" u="none" strike="noStrike" kern="1200" cap="all" baseline="0">
                    <a:solidFill>
                      <a:schemeClr val="bg1"/>
                    </a:solidFill>
                    <a:latin typeface="+mn-lt"/>
                    <a:ea typeface="+mn-ea"/>
                    <a:cs typeface="+mn-cs"/>
                  </a:defRPr>
                </a:pPr>
                <a:r>
                  <a:rPr lang="en-US"/>
                  <a:t>Violations/Size (MB)</a:t>
                </a:r>
              </a:p>
            </c:rich>
          </c:tx>
          <c:overlay val="0"/>
          <c:spPr>
            <a:noFill/>
            <a:ln>
              <a:noFill/>
            </a:ln>
            <a:effectLst/>
          </c:spPr>
          <c:txPr>
            <a:bodyPr rot="-5400000" spcFirstLastPara="1" vertOverflow="ellipsis" vert="horz" wrap="square" anchor="ctr" anchorCtr="1"/>
            <a:lstStyle/>
            <a:p>
              <a:pPr>
                <a:defRPr sz="1197" b="0" i="0" u="none" strike="noStrike" kern="1200" cap="all" baseline="0">
                  <a:solidFill>
                    <a:schemeClr val="bg1"/>
                  </a:solidFill>
                  <a:latin typeface="+mn-lt"/>
                  <a:ea typeface="+mn-ea"/>
                  <a:cs typeface="+mn-cs"/>
                </a:defRPr>
              </a:pPr>
              <a:endParaRPr lang="en-US"/>
            </a:p>
          </c:txPr>
        </c:title>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crossAx val="2964481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legend>
    <c:plotVisOnly val="1"/>
    <c:dispBlanksAs val="gap"/>
    <c:showDLblsOverMax val="0"/>
  </c:chart>
  <c:spPr>
    <a:noFill/>
    <a:ln>
      <a:noFill/>
    </a:ln>
    <a:effectLst/>
  </c:spPr>
  <c:txPr>
    <a:bodyPr/>
    <a:lstStyle/>
    <a:p>
      <a:pPr>
        <a:defRPr>
          <a:solidFill>
            <a:schemeClr val="bg1"/>
          </a:solidFill>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cap="none" spc="20" baseline="0">
                <a:solidFill>
                  <a:schemeClr val="bg1"/>
                </a:solidFill>
                <a:latin typeface="+mj-lt"/>
                <a:ea typeface="+mn-ea"/>
                <a:cs typeface="+mn-cs"/>
              </a:defRPr>
            </a:pPr>
            <a:r>
              <a:rPr lang="en-US"/>
              <a:t>Violations/count (%) by Language</a:t>
            </a:r>
          </a:p>
        </c:rich>
      </c:tx>
      <c:overlay val="0"/>
      <c:spPr>
        <a:noFill/>
        <a:ln>
          <a:noFill/>
        </a:ln>
        <a:effectLst/>
      </c:spPr>
      <c:txPr>
        <a:bodyPr rot="0" spcFirstLastPara="1" vertOverflow="ellipsis" vert="horz" wrap="square" anchor="ctr" anchorCtr="1"/>
        <a:lstStyle/>
        <a:p>
          <a:pPr>
            <a:defRPr sz="1862" b="0" i="0" u="none" strike="noStrike" kern="1200" cap="none" spc="20" baseline="0">
              <a:solidFill>
                <a:schemeClr val="bg1"/>
              </a:solidFill>
              <a:latin typeface="+mj-lt"/>
              <a:ea typeface="+mn-ea"/>
              <a:cs typeface="+mn-cs"/>
            </a:defRPr>
          </a:pPr>
          <a:endParaRPr lang="en-US"/>
        </a:p>
      </c:txPr>
    </c:title>
    <c:autoTitleDeleted val="0"/>
    <c:plotArea>
      <c:layout/>
      <c:barChart>
        <c:barDir val="col"/>
        <c:grouping val="clustered"/>
        <c:varyColors val="0"/>
        <c:ser>
          <c:idx val="0"/>
          <c:order val="0"/>
          <c:tx>
            <c:strRef>
              <c:f>Graphs_Abstract_Median!$E$64</c:f>
              <c:strCache>
                <c:ptCount val="1"/>
                <c:pt idx="0">
                  <c:v>completeness violations/count (%)</c:v>
                </c:pt>
              </c:strCache>
            </c:strRef>
          </c:tx>
          <c:spPr>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chemeClr>
              </a:solidFill>
              <a:round/>
            </a:ln>
            <a:effectLst>
              <a:outerShdw blurRad="40000" dist="20000" dir="5400000" rotWithShape="0">
                <a:srgbClr val="000000">
                  <a:alpha val="38000"/>
                </a:srgbClr>
              </a:outerShdw>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mj-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Graphs_Abstract_Median!$B$65:$B$67</c:f>
              <c:strCache>
                <c:ptCount val="3"/>
                <c:pt idx="0">
                  <c:v>English (34386)</c:v>
                </c:pt>
                <c:pt idx="1">
                  <c:v>Spanish (1224)</c:v>
                </c:pt>
                <c:pt idx="2">
                  <c:v>Other (4632)</c:v>
                </c:pt>
              </c:strCache>
            </c:strRef>
          </c:cat>
          <c:val>
            <c:numRef>
              <c:f>Graphs_Abstract_Median!$E$65:$E$67</c:f>
              <c:numCache>
                <c:formatCode>0.00</c:formatCode>
                <c:ptCount val="3"/>
                <c:pt idx="0">
                  <c:v>31.334060761998469</c:v>
                </c:pt>
                <c:pt idx="1">
                  <c:v>26.815431214594874</c:v>
                </c:pt>
                <c:pt idx="2">
                  <c:v>35.111675410815906</c:v>
                </c:pt>
              </c:numCache>
            </c:numRef>
          </c:val>
          <c:extLst>
            <c:ext xmlns:c16="http://schemas.microsoft.com/office/drawing/2014/chart" uri="{C3380CC4-5D6E-409C-BE32-E72D297353CC}">
              <c16:uniqueId val="{00000000-247E-43DB-A649-E2B2AE39227D}"/>
            </c:ext>
          </c:extLst>
        </c:ser>
        <c:ser>
          <c:idx val="1"/>
          <c:order val="1"/>
          <c:tx>
            <c:strRef>
              <c:f>Graphs_Abstract_Median!$F$64</c:f>
              <c:strCache>
                <c:ptCount val="1"/>
                <c:pt idx="0">
                  <c:v>syntax violations/count (%)</c:v>
                </c:pt>
              </c:strCache>
            </c:strRef>
          </c:tx>
          <c:spPr>
            <a:gradFill rotWithShape="1">
              <a:gsLst>
                <a:gs pos="0">
                  <a:schemeClr val="accent2">
                    <a:tint val="50000"/>
                    <a:satMod val="300000"/>
                  </a:schemeClr>
                </a:gs>
                <a:gs pos="35000">
                  <a:schemeClr val="accent2">
                    <a:tint val="37000"/>
                    <a:satMod val="300000"/>
                  </a:schemeClr>
                </a:gs>
                <a:gs pos="100000">
                  <a:schemeClr val="accent2">
                    <a:tint val="15000"/>
                    <a:satMod val="350000"/>
                  </a:schemeClr>
                </a:gs>
              </a:gsLst>
              <a:lin ang="16200000" scaled="1"/>
            </a:gradFill>
            <a:ln w="9525" cap="flat" cmpd="sng" algn="ctr">
              <a:solidFill>
                <a:schemeClr val="accent2">
                  <a:shade val="95000"/>
                </a:schemeClr>
              </a:solidFill>
              <a:round/>
            </a:ln>
            <a:effectLst>
              <a:outerShdw blurRad="40000" dist="20000" dir="5400000" rotWithShape="0">
                <a:srgbClr val="000000">
                  <a:alpha val="38000"/>
                </a:srgbClr>
              </a:outerShdw>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mj-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Graphs_Abstract_Median!$B$65:$B$67</c:f>
              <c:strCache>
                <c:ptCount val="3"/>
                <c:pt idx="0">
                  <c:v>English (34386)</c:v>
                </c:pt>
                <c:pt idx="1">
                  <c:v>Spanish (1224)</c:v>
                </c:pt>
                <c:pt idx="2">
                  <c:v>Other (4632)</c:v>
                </c:pt>
              </c:strCache>
            </c:strRef>
          </c:cat>
          <c:val>
            <c:numRef>
              <c:f>Graphs_Abstract_Median!$F$65:$F$67</c:f>
              <c:numCache>
                <c:formatCode>0.00</c:formatCode>
                <c:ptCount val="3"/>
                <c:pt idx="0">
                  <c:v>15.195103924945158</c:v>
                </c:pt>
                <c:pt idx="1">
                  <c:v>13.761845061671698</c:v>
                </c:pt>
                <c:pt idx="2">
                  <c:v>15.262825648965405</c:v>
                </c:pt>
              </c:numCache>
            </c:numRef>
          </c:val>
          <c:extLst>
            <c:ext xmlns:c16="http://schemas.microsoft.com/office/drawing/2014/chart" uri="{C3380CC4-5D6E-409C-BE32-E72D297353CC}">
              <c16:uniqueId val="{00000001-247E-43DB-A649-E2B2AE39227D}"/>
            </c:ext>
          </c:extLst>
        </c:ser>
        <c:dLbls>
          <c:dLblPos val="outEnd"/>
          <c:showLegendKey val="0"/>
          <c:showVal val="1"/>
          <c:showCatName val="0"/>
          <c:showSerName val="0"/>
          <c:showPercent val="0"/>
          <c:showBubbleSize val="0"/>
        </c:dLbls>
        <c:gapWidth val="100"/>
        <c:overlap val="-24"/>
        <c:axId val="1635430863"/>
        <c:axId val="1635432511"/>
      </c:barChart>
      <c:catAx>
        <c:axId val="1635430863"/>
        <c:scaling>
          <c:orientation val="minMax"/>
        </c:scaling>
        <c:delete val="0"/>
        <c:axPos val="b"/>
        <c:title>
          <c:tx>
            <c:rich>
              <a:bodyPr rot="0" spcFirstLastPara="1" vertOverflow="ellipsis" vert="horz" wrap="square" anchor="ctr" anchorCtr="1"/>
              <a:lstStyle/>
              <a:p>
                <a:pPr>
                  <a:defRPr sz="1197" b="0" i="0" u="none" strike="noStrike" kern="1200" cap="all" baseline="0">
                    <a:solidFill>
                      <a:schemeClr val="bg1"/>
                    </a:solidFill>
                    <a:latin typeface="+mj-lt"/>
                    <a:ea typeface="+mn-ea"/>
                    <a:cs typeface="+mn-cs"/>
                  </a:defRPr>
                </a:pPr>
                <a:r>
                  <a:rPr lang="en-US"/>
                  <a:t>Language</a:t>
                </a:r>
              </a:p>
            </c:rich>
          </c:tx>
          <c:overlay val="0"/>
          <c:spPr>
            <a:noFill/>
            <a:ln>
              <a:noFill/>
            </a:ln>
            <a:effectLst/>
          </c:spPr>
          <c:txPr>
            <a:bodyPr rot="0" spcFirstLastPara="1" vertOverflow="ellipsis" vert="horz" wrap="square" anchor="ctr" anchorCtr="1"/>
            <a:lstStyle/>
            <a:p>
              <a:pPr>
                <a:defRPr sz="1197" b="0" i="0" u="none" strike="noStrike" kern="1200" cap="all" baseline="0">
                  <a:solidFill>
                    <a:schemeClr val="bg1"/>
                  </a:solidFill>
                  <a:latin typeface="+mj-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bg1"/>
                </a:solidFill>
                <a:latin typeface="+mj-lt"/>
                <a:ea typeface="+mn-ea"/>
                <a:cs typeface="+mn-cs"/>
              </a:defRPr>
            </a:pPr>
            <a:endParaRPr lang="en-US"/>
          </a:p>
        </c:txPr>
        <c:crossAx val="1635432511"/>
        <c:crosses val="autoZero"/>
        <c:auto val="1"/>
        <c:lblAlgn val="ctr"/>
        <c:lblOffset val="100"/>
        <c:noMultiLvlLbl val="0"/>
      </c:catAx>
      <c:valAx>
        <c:axId val="1635432511"/>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197" b="0" i="0" u="none" strike="noStrike" kern="1200" cap="all" baseline="0">
                    <a:solidFill>
                      <a:schemeClr val="bg1"/>
                    </a:solidFill>
                    <a:latin typeface="+mj-lt"/>
                    <a:ea typeface="+mn-ea"/>
                    <a:cs typeface="+mn-cs"/>
                  </a:defRPr>
                </a:pPr>
                <a:r>
                  <a:rPr lang="en-US"/>
                  <a:t>Violations/Count (%)</a:t>
                </a:r>
              </a:p>
            </c:rich>
          </c:tx>
          <c:overlay val="0"/>
          <c:spPr>
            <a:noFill/>
            <a:ln>
              <a:noFill/>
            </a:ln>
            <a:effectLst/>
          </c:spPr>
          <c:txPr>
            <a:bodyPr rot="-5400000" spcFirstLastPara="1" vertOverflow="ellipsis" vert="horz" wrap="square" anchor="ctr" anchorCtr="1"/>
            <a:lstStyle/>
            <a:p>
              <a:pPr>
                <a:defRPr sz="1197" b="0" i="0" u="none" strike="noStrike" kern="1200" cap="all" baseline="0">
                  <a:solidFill>
                    <a:schemeClr val="bg1"/>
                  </a:solidFill>
                  <a:latin typeface="+mj-lt"/>
                  <a:ea typeface="+mn-ea"/>
                  <a:cs typeface="+mn-cs"/>
                </a:defRPr>
              </a:pPr>
              <a:endParaRPr lang="en-US"/>
            </a:p>
          </c:txPr>
        </c:title>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bg1"/>
                </a:solidFill>
                <a:latin typeface="+mj-lt"/>
                <a:ea typeface="+mn-ea"/>
                <a:cs typeface="+mn-cs"/>
              </a:defRPr>
            </a:pPr>
            <a:endParaRPr lang="en-US"/>
          </a:p>
        </c:txPr>
        <c:crossAx val="1635430863"/>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mj-lt"/>
              <a:ea typeface="+mn-ea"/>
              <a:cs typeface="+mn-cs"/>
            </a:defRPr>
          </a:pPr>
          <a:endParaRPr lang="en-US"/>
        </a:p>
      </c:txPr>
    </c:legend>
    <c:plotVisOnly val="1"/>
    <c:dispBlanksAs val="gap"/>
    <c:showDLblsOverMax val="0"/>
  </c:chart>
  <c:spPr>
    <a:noFill/>
    <a:ln>
      <a:noFill/>
    </a:ln>
    <a:effectLst/>
  </c:spPr>
  <c:txPr>
    <a:bodyPr/>
    <a:lstStyle/>
    <a:p>
      <a:pPr>
        <a:defRPr>
          <a:solidFill>
            <a:schemeClr val="bg1"/>
          </a:solidFill>
          <a:latin typeface="+mj-lt"/>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cap="none" spc="20" baseline="0">
                <a:solidFill>
                  <a:schemeClr val="bg1"/>
                </a:solidFill>
                <a:latin typeface="+mj-lt"/>
                <a:ea typeface="+mn-ea"/>
                <a:cs typeface="+mn-cs"/>
              </a:defRPr>
            </a:pPr>
            <a:r>
              <a:rPr lang="en-US"/>
              <a:t>Violations/Size (MB) by Age</a:t>
            </a:r>
          </a:p>
        </c:rich>
      </c:tx>
      <c:overlay val="0"/>
      <c:spPr>
        <a:noFill/>
        <a:ln>
          <a:noFill/>
        </a:ln>
        <a:effectLst/>
      </c:spPr>
      <c:txPr>
        <a:bodyPr rot="0" spcFirstLastPara="1" vertOverflow="ellipsis" vert="horz" wrap="square" anchor="ctr" anchorCtr="1"/>
        <a:lstStyle/>
        <a:p>
          <a:pPr>
            <a:defRPr sz="1862" b="0" i="0" u="none" strike="noStrike" kern="1200" cap="none" spc="20" baseline="0">
              <a:solidFill>
                <a:schemeClr val="bg1"/>
              </a:solidFill>
              <a:latin typeface="+mj-lt"/>
              <a:ea typeface="+mn-ea"/>
              <a:cs typeface="+mn-cs"/>
            </a:defRPr>
          </a:pPr>
          <a:endParaRPr lang="en-US"/>
        </a:p>
      </c:txPr>
    </c:title>
    <c:autoTitleDeleted val="0"/>
    <c:plotArea>
      <c:layout/>
      <c:barChart>
        <c:barDir val="col"/>
        <c:grouping val="clustered"/>
        <c:varyColors val="0"/>
        <c:ser>
          <c:idx val="0"/>
          <c:order val="0"/>
          <c:tx>
            <c:strRef>
              <c:f>Graphs_Abstract_Median!$AC$1</c:f>
              <c:strCache>
                <c:ptCount val="1"/>
                <c:pt idx="0">
                  <c:v>completeness violations/size (MB)</c:v>
                </c:pt>
              </c:strCache>
            </c:strRef>
          </c:tx>
          <c:spPr>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chemeClr>
              </a:solidFill>
              <a:round/>
            </a:ln>
            <a:effectLst>
              <a:outerShdw blurRad="40000" dist="20000" dir="5400000" rotWithShape="0">
                <a:srgbClr val="000000">
                  <a:alpha val="38000"/>
                </a:srgbClr>
              </a:outerShdw>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mj-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Graphs_Abstract_Median!$AB$2:$AB$5</c:f>
              <c:strCache>
                <c:ptCount val="4"/>
                <c:pt idx="0">
                  <c:v>Under 18 (4521)</c:v>
                </c:pt>
                <c:pt idx="1">
                  <c:v>18 to 40 (7887)</c:v>
                </c:pt>
                <c:pt idx="2">
                  <c:v>41 to 64 (12907)</c:v>
                </c:pt>
                <c:pt idx="3">
                  <c:v>65 and over (14927)</c:v>
                </c:pt>
              </c:strCache>
            </c:strRef>
          </c:cat>
          <c:val>
            <c:numRef>
              <c:f>Graphs_Abstract_Median!$AC$2:$AC$5</c:f>
              <c:numCache>
                <c:formatCode>0.00</c:formatCode>
                <c:ptCount val="4"/>
                <c:pt idx="0">
                  <c:v>83.027352275898608</c:v>
                </c:pt>
                <c:pt idx="1">
                  <c:v>70.266249193094779</c:v>
                </c:pt>
                <c:pt idx="2">
                  <c:v>60.071558164712322</c:v>
                </c:pt>
                <c:pt idx="3">
                  <c:v>47.290219136778084</c:v>
                </c:pt>
              </c:numCache>
            </c:numRef>
          </c:val>
          <c:extLst>
            <c:ext xmlns:c16="http://schemas.microsoft.com/office/drawing/2014/chart" uri="{C3380CC4-5D6E-409C-BE32-E72D297353CC}">
              <c16:uniqueId val="{00000000-B742-4D9C-8107-4FE754FF4714}"/>
            </c:ext>
          </c:extLst>
        </c:ser>
        <c:ser>
          <c:idx val="1"/>
          <c:order val="1"/>
          <c:tx>
            <c:strRef>
              <c:f>Graphs_Abstract_Median!$AD$1</c:f>
              <c:strCache>
                <c:ptCount val="1"/>
                <c:pt idx="0">
                  <c:v>syntax violations/size (MB)</c:v>
                </c:pt>
              </c:strCache>
            </c:strRef>
          </c:tx>
          <c:spPr>
            <a:gradFill rotWithShape="1">
              <a:gsLst>
                <a:gs pos="0">
                  <a:schemeClr val="accent2">
                    <a:tint val="50000"/>
                    <a:satMod val="300000"/>
                  </a:schemeClr>
                </a:gs>
                <a:gs pos="35000">
                  <a:schemeClr val="accent2">
                    <a:tint val="37000"/>
                    <a:satMod val="300000"/>
                  </a:schemeClr>
                </a:gs>
                <a:gs pos="100000">
                  <a:schemeClr val="accent2">
                    <a:tint val="15000"/>
                    <a:satMod val="350000"/>
                  </a:schemeClr>
                </a:gs>
              </a:gsLst>
              <a:lin ang="16200000" scaled="1"/>
            </a:gradFill>
            <a:ln w="9525" cap="flat" cmpd="sng" algn="ctr">
              <a:solidFill>
                <a:schemeClr val="accent2">
                  <a:shade val="95000"/>
                </a:schemeClr>
              </a:solidFill>
              <a:round/>
            </a:ln>
            <a:effectLst>
              <a:outerShdw blurRad="40000" dist="20000" dir="5400000" rotWithShape="0">
                <a:srgbClr val="000000">
                  <a:alpha val="38000"/>
                </a:srgbClr>
              </a:outerShdw>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mj-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Graphs_Abstract_Median!$AB$2:$AB$5</c:f>
              <c:strCache>
                <c:ptCount val="4"/>
                <c:pt idx="0">
                  <c:v>Under 18 (4521)</c:v>
                </c:pt>
                <c:pt idx="1">
                  <c:v>18 to 40 (7887)</c:v>
                </c:pt>
                <c:pt idx="2">
                  <c:v>41 to 64 (12907)</c:v>
                </c:pt>
                <c:pt idx="3">
                  <c:v>65 and over (14927)</c:v>
                </c:pt>
              </c:strCache>
            </c:strRef>
          </c:cat>
          <c:val>
            <c:numRef>
              <c:f>Graphs_Abstract_Median!$AD$2:$AD$5</c:f>
              <c:numCache>
                <c:formatCode>0.00</c:formatCode>
                <c:ptCount val="4"/>
                <c:pt idx="0">
                  <c:v>44.794306487336883</c:v>
                </c:pt>
                <c:pt idx="1">
                  <c:v>43.316841512201194</c:v>
                </c:pt>
                <c:pt idx="2">
                  <c:v>38.380502094020954</c:v>
                </c:pt>
                <c:pt idx="3">
                  <c:v>31.938241139299052</c:v>
                </c:pt>
              </c:numCache>
            </c:numRef>
          </c:val>
          <c:extLst>
            <c:ext xmlns:c16="http://schemas.microsoft.com/office/drawing/2014/chart" uri="{C3380CC4-5D6E-409C-BE32-E72D297353CC}">
              <c16:uniqueId val="{00000001-B742-4D9C-8107-4FE754FF4714}"/>
            </c:ext>
          </c:extLst>
        </c:ser>
        <c:dLbls>
          <c:dLblPos val="outEnd"/>
          <c:showLegendKey val="0"/>
          <c:showVal val="1"/>
          <c:showCatName val="0"/>
          <c:showSerName val="0"/>
          <c:showPercent val="0"/>
          <c:showBubbleSize val="0"/>
        </c:dLbls>
        <c:gapWidth val="100"/>
        <c:overlap val="-24"/>
        <c:axId val="1356968192"/>
        <c:axId val="86344559"/>
      </c:barChart>
      <c:catAx>
        <c:axId val="1356968192"/>
        <c:scaling>
          <c:orientation val="minMax"/>
        </c:scaling>
        <c:delete val="0"/>
        <c:axPos val="b"/>
        <c:title>
          <c:tx>
            <c:rich>
              <a:bodyPr rot="0" spcFirstLastPara="1" vertOverflow="ellipsis" vert="horz" wrap="square" anchor="ctr" anchorCtr="1"/>
              <a:lstStyle/>
              <a:p>
                <a:pPr>
                  <a:defRPr sz="1197" b="0" i="0" u="none" strike="noStrike" kern="1200" cap="all" baseline="0">
                    <a:solidFill>
                      <a:schemeClr val="bg1"/>
                    </a:solidFill>
                    <a:latin typeface="+mj-lt"/>
                    <a:ea typeface="+mn-ea"/>
                    <a:cs typeface="+mn-cs"/>
                  </a:defRPr>
                </a:pPr>
                <a:r>
                  <a:rPr lang="en-US"/>
                  <a:t>Age Categories</a:t>
                </a:r>
              </a:p>
            </c:rich>
          </c:tx>
          <c:overlay val="0"/>
          <c:spPr>
            <a:noFill/>
            <a:ln>
              <a:noFill/>
            </a:ln>
            <a:effectLst/>
          </c:spPr>
          <c:txPr>
            <a:bodyPr rot="0" spcFirstLastPara="1" vertOverflow="ellipsis" vert="horz" wrap="square" anchor="ctr" anchorCtr="1"/>
            <a:lstStyle/>
            <a:p>
              <a:pPr>
                <a:defRPr sz="1197" b="0" i="0" u="none" strike="noStrike" kern="1200" cap="all" baseline="0">
                  <a:solidFill>
                    <a:schemeClr val="bg1"/>
                  </a:solidFill>
                  <a:latin typeface="+mj-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bg1"/>
                </a:solidFill>
                <a:latin typeface="+mj-lt"/>
                <a:ea typeface="+mn-ea"/>
                <a:cs typeface="+mn-cs"/>
              </a:defRPr>
            </a:pPr>
            <a:endParaRPr lang="en-US"/>
          </a:p>
        </c:txPr>
        <c:crossAx val="86344559"/>
        <c:crosses val="autoZero"/>
        <c:auto val="1"/>
        <c:lblAlgn val="ctr"/>
        <c:lblOffset val="100"/>
        <c:noMultiLvlLbl val="0"/>
      </c:catAx>
      <c:valAx>
        <c:axId val="86344559"/>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197" b="0" i="0" u="none" strike="noStrike" kern="1200" cap="all" baseline="0">
                    <a:solidFill>
                      <a:schemeClr val="bg1"/>
                    </a:solidFill>
                    <a:latin typeface="+mj-lt"/>
                    <a:ea typeface="+mn-ea"/>
                    <a:cs typeface="+mn-cs"/>
                  </a:defRPr>
                </a:pPr>
                <a:r>
                  <a:rPr lang="en-US"/>
                  <a:t>Violations/Size (MB)</a:t>
                </a:r>
              </a:p>
            </c:rich>
          </c:tx>
          <c:overlay val="0"/>
          <c:spPr>
            <a:noFill/>
            <a:ln>
              <a:noFill/>
            </a:ln>
            <a:effectLst/>
          </c:spPr>
          <c:txPr>
            <a:bodyPr rot="-5400000" spcFirstLastPara="1" vertOverflow="ellipsis" vert="horz" wrap="square" anchor="ctr" anchorCtr="1"/>
            <a:lstStyle/>
            <a:p>
              <a:pPr>
                <a:defRPr sz="1197" b="0" i="0" u="none" strike="noStrike" kern="1200" cap="all" baseline="0">
                  <a:solidFill>
                    <a:schemeClr val="bg1"/>
                  </a:solidFill>
                  <a:latin typeface="+mj-lt"/>
                  <a:ea typeface="+mn-ea"/>
                  <a:cs typeface="+mn-cs"/>
                </a:defRPr>
              </a:pPr>
              <a:endParaRPr lang="en-US"/>
            </a:p>
          </c:txPr>
        </c:title>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bg1"/>
                </a:solidFill>
                <a:latin typeface="+mj-lt"/>
                <a:ea typeface="+mn-ea"/>
                <a:cs typeface="+mn-cs"/>
              </a:defRPr>
            </a:pPr>
            <a:endParaRPr lang="en-US"/>
          </a:p>
        </c:txPr>
        <c:crossAx val="135696819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mj-lt"/>
              <a:ea typeface="+mn-ea"/>
              <a:cs typeface="+mn-cs"/>
            </a:defRPr>
          </a:pPr>
          <a:endParaRPr lang="en-US"/>
        </a:p>
      </c:txPr>
    </c:legend>
    <c:plotVisOnly val="1"/>
    <c:dispBlanksAs val="gap"/>
    <c:showDLblsOverMax val="0"/>
  </c:chart>
  <c:spPr>
    <a:noFill/>
    <a:ln>
      <a:noFill/>
    </a:ln>
    <a:effectLst/>
  </c:spPr>
  <c:txPr>
    <a:bodyPr/>
    <a:lstStyle/>
    <a:p>
      <a:pPr>
        <a:defRPr>
          <a:solidFill>
            <a:schemeClr val="bg1"/>
          </a:solidFill>
          <a:latin typeface="+mj-lt"/>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cap="none" spc="20" baseline="0">
                <a:solidFill>
                  <a:schemeClr val="bg1"/>
                </a:solidFill>
                <a:latin typeface="+mj-lt"/>
                <a:ea typeface="+mn-ea"/>
                <a:cs typeface="+mn-cs"/>
              </a:defRPr>
            </a:pPr>
            <a:r>
              <a:rPr lang="en-US"/>
              <a:t>Violations/Count (%) by Age</a:t>
            </a:r>
          </a:p>
        </c:rich>
      </c:tx>
      <c:overlay val="0"/>
      <c:spPr>
        <a:noFill/>
        <a:ln>
          <a:noFill/>
        </a:ln>
        <a:effectLst/>
      </c:spPr>
      <c:txPr>
        <a:bodyPr rot="0" spcFirstLastPara="1" vertOverflow="ellipsis" vert="horz" wrap="square" anchor="ctr" anchorCtr="1"/>
        <a:lstStyle/>
        <a:p>
          <a:pPr>
            <a:defRPr sz="1862" b="0" i="0" u="none" strike="noStrike" kern="1200" cap="none" spc="20" baseline="0">
              <a:solidFill>
                <a:schemeClr val="bg1"/>
              </a:solidFill>
              <a:latin typeface="+mj-lt"/>
              <a:ea typeface="+mn-ea"/>
              <a:cs typeface="+mn-cs"/>
            </a:defRPr>
          </a:pPr>
          <a:endParaRPr lang="en-US"/>
        </a:p>
      </c:txPr>
    </c:title>
    <c:autoTitleDeleted val="0"/>
    <c:plotArea>
      <c:layout/>
      <c:barChart>
        <c:barDir val="col"/>
        <c:grouping val="clustered"/>
        <c:varyColors val="0"/>
        <c:ser>
          <c:idx val="0"/>
          <c:order val="0"/>
          <c:tx>
            <c:strRef>
              <c:f>Graphs_Abstract_Median!$AE$1</c:f>
              <c:strCache>
                <c:ptCount val="1"/>
                <c:pt idx="0">
                  <c:v>completeness violations/count (%)</c:v>
                </c:pt>
              </c:strCache>
            </c:strRef>
          </c:tx>
          <c:spPr>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chemeClr>
              </a:solidFill>
              <a:round/>
            </a:ln>
            <a:effectLst>
              <a:outerShdw blurRad="40000" dist="20000" dir="5400000" rotWithShape="0">
                <a:srgbClr val="000000">
                  <a:alpha val="38000"/>
                </a:srgbClr>
              </a:outerShdw>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mj-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Graphs_Abstract_Median!$AB$2:$AB$5</c:f>
              <c:strCache>
                <c:ptCount val="4"/>
                <c:pt idx="0">
                  <c:v>Under 18 (4521)</c:v>
                </c:pt>
                <c:pt idx="1">
                  <c:v>18 to 40 (7887)</c:v>
                </c:pt>
                <c:pt idx="2">
                  <c:v>41 to 64 (12907)</c:v>
                </c:pt>
                <c:pt idx="3">
                  <c:v>65 and over (14927)</c:v>
                </c:pt>
              </c:strCache>
            </c:strRef>
          </c:cat>
          <c:val>
            <c:numRef>
              <c:f>Graphs_Abstract_Median!$AE$2:$AE$5</c:f>
              <c:numCache>
                <c:formatCode>0.00</c:formatCode>
                <c:ptCount val="4"/>
                <c:pt idx="0">
                  <c:v>33.179100225688359</c:v>
                </c:pt>
                <c:pt idx="1">
                  <c:v>30.727535110544526</c:v>
                </c:pt>
                <c:pt idx="2">
                  <c:v>31.244477048964711</c:v>
                </c:pt>
                <c:pt idx="3">
                  <c:v>31.974886773189429</c:v>
                </c:pt>
              </c:numCache>
            </c:numRef>
          </c:val>
          <c:extLst>
            <c:ext xmlns:c16="http://schemas.microsoft.com/office/drawing/2014/chart" uri="{C3380CC4-5D6E-409C-BE32-E72D297353CC}">
              <c16:uniqueId val="{00000000-7828-4CC7-83DF-4E3B1405E8C1}"/>
            </c:ext>
          </c:extLst>
        </c:ser>
        <c:ser>
          <c:idx val="1"/>
          <c:order val="1"/>
          <c:tx>
            <c:strRef>
              <c:f>Graphs_Abstract_Median!$AF$1</c:f>
              <c:strCache>
                <c:ptCount val="1"/>
                <c:pt idx="0">
                  <c:v>syntax violations/count (%)</c:v>
                </c:pt>
              </c:strCache>
            </c:strRef>
          </c:tx>
          <c:spPr>
            <a:gradFill rotWithShape="1">
              <a:gsLst>
                <a:gs pos="0">
                  <a:schemeClr val="accent2">
                    <a:tint val="50000"/>
                    <a:satMod val="300000"/>
                  </a:schemeClr>
                </a:gs>
                <a:gs pos="35000">
                  <a:schemeClr val="accent2">
                    <a:tint val="37000"/>
                    <a:satMod val="300000"/>
                  </a:schemeClr>
                </a:gs>
                <a:gs pos="100000">
                  <a:schemeClr val="accent2">
                    <a:tint val="15000"/>
                    <a:satMod val="350000"/>
                  </a:schemeClr>
                </a:gs>
              </a:gsLst>
              <a:lin ang="16200000" scaled="1"/>
            </a:gradFill>
            <a:ln w="9525" cap="flat" cmpd="sng" algn="ctr">
              <a:solidFill>
                <a:schemeClr val="accent2">
                  <a:shade val="95000"/>
                </a:schemeClr>
              </a:solidFill>
              <a:round/>
            </a:ln>
            <a:effectLst>
              <a:outerShdw blurRad="40000" dist="20000" dir="5400000" rotWithShape="0">
                <a:srgbClr val="000000">
                  <a:alpha val="38000"/>
                </a:srgbClr>
              </a:outerShdw>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mj-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Graphs_Abstract_Median!$AB$2:$AB$5</c:f>
              <c:strCache>
                <c:ptCount val="4"/>
                <c:pt idx="0">
                  <c:v>Under 18 (4521)</c:v>
                </c:pt>
                <c:pt idx="1">
                  <c:v>18 to 40 (7887)</c:v>
                </c:pt>
                <c:pt idx="2">
                  <c:v>41 to 64 (12907)</c:v>
                </c:pt>
                <c:pt idx="3">
                  <c:v>65 and over (14927)</c:v>
                </c:pt>
              </c:strCache>
            </c:strRef>
          </c:cat>
          <c:val>
            <c:numRef>
              <c:f>Graphs_Abstract_Median!$AF$2:$AF$5</c:f>
              <c:numCache>
                <c:formatCode>0.00</c:formatCode>
                <c:ptCount val="4"/>
                <c:pt idx="0">
                  <c:v>13.863636757773909</c:v>
                </c:pt>
                <c:pt idx="1">
                  <c:v>14.673758803359684</c:v>
                </c:pt>
                <c:pt idx="2">
                  <c:v>14.954442403638252</c:v>
                </c:pt>
                <c:pt idx="3">
                  <c:v>15.985417348220381</c:v>
                </c:pt>
              </c:numCache>
            </c:numRef>
          </c:val>
          <c:extLst>
            <c:ext xmlns:c16="http://schemas.microsoft.com/office/drawing/2014/chart" uri="{C3380CC4-5D6E-409C-BE32-E72D297353CC}">
              <c16:uniqueId val="{00000001-7828-4CC7-83DF-4E3B1405E8C1}"/>
            </c:ext>
          </c:extLst>
        </c:ser>
        <c:dLbls>
          <c:dLblPos val="outEnd"/>
          <c:showLegendKey val="0"/>
          <c:showVal val="1"/>
          <c:showCatName val="0"/>
          <c:showSerName val="0"/>
          <c:showPercent val="0"/>
          <c:showBubbleSize val="0"/>
        </c:dLbls>
        <c:gapWidth val="100"/>
        <c:overlap val="-24"/>
        <c:axId val="53260079"/>
        <c:axId val="1303646879"/>
      </c:barChart>
      <c:catAx>
        <c:axId val="53260079"/>
        <c:scaling>
          <c:orientation val="minMax"/>
        </c:scaling>
        <c:delete val="0"/>
        <c:axPos val="b"/>
        <c:title>
          <c:tx>
            <c:rich>
              <a:bodyPr rot="0" spcFirstLastPara="1" vertOverflow="ellipsis" vert="horz" wrap="square" anchor="ctr" anchorCtr="1"/>
              <a:lstStyle/>
              <a:p>
                <a:pPr>
                  <a:defRPr sz="1197" b="0" i="0" u="none" strike="noStrike" kern="1200" cap="all" baseline="0">
                    <a:solidFill>
                      <a:schemeClr val="bg1"/>
                    </a:solidFill>
                    <a:latin typeface="+mj-lt"/>
                    <a:ea typeface="+mn-ea"/>
                    <a:cs typeface="+mn-cs"/>
                  </a:defRPr>
                </a:pPr>
                <a:r>
                  <a:rPr lang="en-US"/>
                  <a:t>Age</a:t>
                </a:r>
              </a:p>
            </c:rich>
          </c:tx>
          <c:overlay val="0"/>
          <c:spPr>
            <a:noFill/>
            <a:ln>
              <a:noFill/>
            </a:ln>
            <a:effectLst/>
          </c:spPr>
          <c:txPr>
            <a:bodyPr rot="0" spcFirstLastPara="1" vertOverflow="ellipsis" vert="horz" wrap="square" anchor="ctr" anchorCtr="1"/>
            <a:lstStyle/>
            <a:p>
              <a:pPr>
                <a:defRPr sz="1197" b="0" i="0" u="none" strike="noStrike" kern="1200" cap="all" baseline="0">
                  <a:solidFill>
                    <a:schemeClr val="bg1"/>
                  </a:solidFill>
                  <a:latin typeface="+mj-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bg1"/>
                </a:solidFill>
                <a:latin typeface="+mj-lt"/>
                <a:ea typeface="+mn-ea"/>
                <a:cs typeface="+mn-cs"/>
              </a:defRPr>
            </a:pPr>
            <a:endParaRPr lang="en-US"/>
          </a:p>
        </c:txPr>
        <c:crossAx val="1303646879"/>
        <c:crosses val="autoZero"/>
        <c:auto val="1"/>
        <c:lblAlgn val="ctr"/>
        <c:lblOffset val="100"/>
        <c:noMultiLvlLbl val="0"/>
      </c:catAx>
      <c:valAx>
        <c:axId val="1303646879"/>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197" b="0" i="0" u="none" strike="noStrike" kern="1200" cap="all" baseline="0">
                    <a:solidFill>
                      <a:schemeClr val="bg1"/>
                    </a:solidFill>
                    <a:latin typeface="+mj-lt"/>
                    <a:ea typeface="+mn-ea"/>
                    <a:cs typeface="+mn-cs"/>
                  </a:defRPr>
                </a:pPr>
                <a:r>
                  <a:rPr lang="en-US"/>
                  <a:t>Violations/Count (%)</a:t>
                </a:r>
              </a:p>
            </c:rich>
          </c:tx>
          <c:overlay val="0"/>
          <c:spPr>
            <a:noFill/>
            <a:ln>
              <a:noFill/>
            </a:ln>
            <a:effectLst/>
          </c:spPr>
          <c:txPr>
            <a:bodyPr rot="-5400000" spcFirstLastPara="1" vertOverflow="ellipsis" vert="horz" wrap="square" anchor="ctr" anchorCtr="1"/>
            <a:lstStyle/>
            <a:p>
              <a:pPr>
                <a:defRPr sz="1197" b="0" i="0" u="none" strike="noStrike" kern="1200" cap="all" baseline="0">
                  <a:solidFill>
                    <a:schemeClr val="bg1"/>
                  </a:solidFill>
                  <a:latin typeface="+mj-lt"/>
                  <a:ea typeface="+mn-ea"/>
                  <a:cs typeface="+mn-cs"/>
                </a:defRPr>
              </a:pPr>
              <a:endParaRPr lang="en-US"/>
            </a:p>
          </c:txPr>
        </c:title>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bg1"/>
                </a:solidFill>
                <a:latin typeface="+mj-lt"/>
                <a:ea typeface="+mn-ea"/>
                <a:cs typeface="+mn-cs"/>
              </a:defRPr>
            </a:pPr>
            <a:endParaRPr lang="en-US"/>
          </a:p>
        </c:txPr>
        <c:crossAx val="53260079"/>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mj-lt"/>
              <a:ea typeface="+mn-ea"/>
              <a:cs typeface="+mn-cs"/>
            </a:defRPr>
          </a:pPr>
          <a:endParaRPr lang="en-US"/>
        </a:p>
      </c:txPr>
    </c:legend>
    <c:plotVisOnly val="1"/>
    <c:dispBlanksAs val="gap"/>
    <c:showDLblsOverMax val="0"/>
  </c:chart>
  <c:spPr>
    <a:noFill/>
    <a:ln>
      <a:noFill/>
    </a:ln>
    <a:effectLst/>
  </c:spPr>
  <c:txPr>
    <a:bodyPr/>
    <a:lstStyle/>
    <a:p>
      <a:pPr>
        <a:defRPr>
          <a:solidFill>
            <a:schemeClr val="bg1"/>
          </a:solidFill>
          <a:latin typeface="+mj-lt"/>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cap="none" spc="20" baseline="0">
                <a:solidFill>
                  <a:schemeClr val="bg1"/>
                </a:solidFill>
                <a:latin typeface="+mj-lt"/>
                <a:ea typeface="+mn-ea"/>
                <a:cs typeface="+mn-cs"/>
              </a:defRPr>
            </a:pPr>
            <a:r>
              <a:rPr lang="en-US" dirty="0"/>
              <a:t>Violations/Size (MB) by Gender</a:t>
            </a:r>
          </a:p>
        </c:rich>
      </c:tx>
      <c:overlay val="0"/>
      <c:spPr>
        <a:noFill/>
        <a:ln>
          <a:noFill/>
        </a:ln>
        <a:effectLst/>
      </c:spPr>
      <c:txPr>
        <a:bodyPr rot="0" spcFirstLastPara="1" vertOverflow="ellipsis" vert="horz" wrap="square" anchor="ctr" anchorCtr="1"/>
        <a:lstStyle/>
        <a:p>
          <a:pPr>
            <a:defRPr sz="1862" b="0" i="0" u="none" strike="noStrike" kern="1200" cap="none" spc="20" baseline="0">
              <a:solidFill>
                <a:schemeClr val="bg1"/>
              </a:solidFill>
              <a:latin typeface="+mj-lt"/>
              <a:ea typeface="+mn-ea"/>
              <a:cs typeface="+mn-cs"/>
            </a:defRPr>
          </a:pPr>
          <a:endParaRPr lang="en-US"/>
        </a:p>
      </c:txPr>
    </c:title>
    <c:autoTitleDeleted val="0"/>
    <c:plotArea>
      <c:layout/>
      <c:barChart>
        <c:barDir val="col"/>
        <c:grouping val="clustered"/>
        <c:varyColors val="0"/>
        <c:ser>
          <c:idx val="0"/>
          <c:order val="0"/>
          <c:tx>
            <c:strRef>
              <c:f>Graphs_Abstract_Median!$AD$29</c:f>
              <c:strCache>
                <c:ptCount val="1"/>
                <c:pt idx="0">
                  <c:v>completeness violations/size (MB)</c:v>
                </c:pt>
              </c:strCache>
            </c:strRef>
          </c:tx>
          <c:spPr>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chemeClr>
              </a:solidFill>
              <a:round/>
            </a:ln>
            <a:effectLst>
              <a:outerShdw blurRad="40000" dist="20000" dir="5400000" rotWithShape="0">
                <a:srgbClr val="000000">
                  <a:alpha val="38000"/>
                </a:srgbClr>
              </a:outerShdw>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mj-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Graphs_Abstract_Median!$AC$30:$AC$31</c:f>
              <c:strCache>
                <c:ptCount val="2"/>
                <c:pt idx="0">
                  <c:v>Male (16646)</c:v>
                </c:pt>
                <c:pt idx="1">
                  <c:v>Female (23596)</c:v>
                </c:pt>
              </c:strCache>
            </c:strRef>
          </c:cat>
          <c:val>
            <c:numRef>
              <c:f>Graphs_Abstract_Median!$AD$30:$AD$31</c:f>
              <c:numCache>
                <c:formatCode>0.00</c:formatCode>
                <c:ptCount val="2"/>
                <c:pt idx="0">
                  <c:v>60.078815685048596</c:v>
                </c:pt>
                <c:pt idx="1">
                  <c:v>59.786798754813674</c:v>
                </c:pt>
              </c:numCache>
            </c:numRef>
          </c:val>
          <c:extLst>
            <c:ext xmlns:c16="http://schemas.microsoft.com/office/drawing/2014/chart" uri="{C3380CC4-5D6E-409C-BE32-E72D297353CC}">
              <c16:uniqueId val="{00000000-851E-43A6-A84F-47DA6B85B88A}"/>
            </c:ext>
          </c:extLst>
        </c:ser>
        <c:ser>
          <c:idx val="1"/>
          <c:order val="1"/>
          <c:tx>
            <c:strRef>
              <c:f>Graphs_Abstract_Median!$AE$29</c:f>
              <c:strCache>
                <c:ptCount val="1"/>
                <c:pt idx="0">
                  <c:v>syntax violations/size (MB)</c:v>
                </c:pt>
              </c:strCache>
            </c:strRef>
          </c:tx>
          <c:spPr>
            <a:gradFill rotWithShape="1">
              <a:gsLst>
                <a:gs pos="0">
                  <a:schemeClr val="accent2">
                    <a:tint val="50000"/>
                    <a:satMod val="300000"/>
                  </a:schemeClr>
                </a:gs>
                <a:gs pos="35000">
                  <a:schemeClr val="accent2">
                    <a:tint val="37000"/>
                    <a:satMod val="300000"/>
                  </a:schemeClr>
                </a:gs>
                <a:gs pos="100000">
                  <a:schemeClr val="accent2">
                    <a:tint val="15000"/>
                    <a:satMod val="350000"/>
                  </a:schemeClr>
                </a:gs>
              </a:gsLst>
              <a:lin ang="16200000" scaled="1"/>
            </a:gradFill>
            <a:ln w="9525" cap="flat" cmpd="sng" algn="ctr">
              <a:solidFill>
                <a:schemeClr val="accent2">
                  <a:shade val="95000"/>
                </a:schemeClr>
              </a:solidFill>
              <a:round/>
            </a:ln>
            <a:effectLst>
              <a:outerShdw blurRad="40000" dist="20000" dir="5400000" rotWithShape="0">
                <a:srgbClr val="000000">
                  <a:alpha val="38000"/>
                </a:srgbClr>
              </a:outerShdw>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mj-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Graphs_Abstract_Median!$AC$30:$AC$31</c:f>
              <c:strCache>
                <c:ptCount val="2"/>
                <c:pt idx="0">
                  <c:v>Male (16646)</c:v>
                </c:pt>
                <c:pt idx="1">
                  <c:v>Female (23596)</c:v>
                </c:pt>
              </c:strCache>
            </c:strRef>
          </c:cat>
          <c:val>
            <c:numRef>
              <c:f>Graphs_Abstract_Median!$AE$30:$AE$31</c:f>
              <c:numCache>
                <c:formatCode>0.00</c:formatCode>
                <c:ptCount val="2"/>
                <c:pt idx="0">
                  <c:v>36.999120464554835</c:v>
                </c:pt>
                <c:pt idx="1">
                  <c:v>38.15845462776889</c:v>
                </c:pt>
              </c:numCache>
            </c:numRef>
          </c:val>
          <c:extLst>
            <c:ext xmlns:c16="http://schemas.microsoft.com/office/drawing/2014/chart" uri="{C3380CC4-5D6E-409C-BE32-E72D297353CC}">
              <c16:uniqueId val="{00000001-851E-43A6-A84F-47DA6B85B88A}"/>
            </c:ext>
          </c:extLst>
        </c:ser>
        <c:dLbls>
          <c:dLblPos val="outEnd"/>
          <c:showLegendKey val="0"/>
          <c:showVal val="1"/>
          <c:showCatName val="0"/>
          <c:showSerName val="0"/>
          <c:showPercent val="0"/>
          <c:showBubbleSize val="0"/>
        </c:dLbls>
        <c:gapWidth val="100"/>
        <c:overlap val="-24"/>
        <c:axId val="732857456"/>
        <c:axId val="86999423"/>
      </c:barChart>
      <c:catAx>
        <c:axId val="732857456"/>
        <c:scaling>
          <c:orientation val="minMax"/>
        </c:scaling>
        <c:delete val="0"/>
        <c:axPos val="b"/>
        <c:title>
          <c:tx>
            <c:rich>
              <a:bodyPr rot="0" spcFirstLastPara="1" vertOverflow="ellipsis" vert="horz" wrap="square" anchor="ctr" anchorCtr="1"/>
              <a:lstStyle/>
              <a:p>
                <a:pPr>
                  <a:defRPr sz="1197" b="0" i="0" u="none" strike="noStrike" kern="1200" cap="all" baseline="0">
                    <a:solidFill>
                      <a:schemeClr val="bg1"/>
                    </a:solidFill>
                    <a:latin typeface="+mj-lt"/>
                    <a:ea typeface="+mn-ea"/>
                    <a:cs typeface="+mn-cs"/>
                  </a:defRPr>
                </a:pPr>
                <a:r>
                  <a:rPr lang="en-US" dirty="0"/>
                  <a:t>GENDER</a:t>
                </a:r>
              </a:p>
            </c:rich>
          </c:tx>
          <c:overlay val="0"/>
          <c:spPr>
            <a:noFill/>
            <a:ln>
              <a:noFill/>
            </a:ln>
            <a:effectLst/>
          </c:spPr>
          <c:txPr>
            <a:bodyPr rot="0" spcFirstLastPara="1" vertOverflow="ellipsis" vert="horz" wrap="square" anchor="ctr" anchorCtr="1"/>
            <a:lstStyle/>
            <a:p>
              <a:pPr>
                <a:defRPr sz="1197" b="0" i="0" u="none" strike="noStrike" kern="1200" cap="all" baseline="0">
                  <a:solidFill>
                    <a:schemeClr val="bg1"/>
                  </a:solidFill>
                  <a:latin typeface="+mj-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bg1"/>
                </a:solidFill>
                <a:latin typeface="+mj-lt"/>
                <a:ea typeface="+mn-ea"/>
                <a:cs typeface="+mn-cs"/>
              </a:defRPr>
            </a:pPr>
            <a:endParaRPr lang="en-US"/>
          </a:p>
        </c:txPr>
        <c:crossAx val="86999423"/>
        <c:crosses val="autoZero"/>
        <c:auto val="1"/>
        <c:lblAlgn val="ctr"/>
        <c:lblOffset val="100"/>
        <c:noMultiLvlLbl val="0"/>
      </c:catAx>
      <c:valAx>
        <c:axId val="86999423"/>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197" b="0" i="0" u="none" strike="noStrike" kern="1200" cap="all" baseline="0">
                    <a:solidFill>
                      <a:schemeClr val="bg1"/>
                    </a:solidFill>
                    <a:latin typeface="+mj-lt"/>
                    <a:ea typeface="+mn-ea"/>
                    <a:cs typeface="+mn-cs"/>
                  </a:defRPr>
                </a:pPr>
                <a:r>
                  <a:rPr lang="en-US"/>
                  <a:t>Violations/Size (MB)</a:t>
                </a:r>
              </a:p>
            </c:rich>
          </c:tx>
          <c:overlay val="0"/>
          <c:spPr>
            <a:noFill/>
            <a:ln>
              <a:noFill/>
            </a:ln>
            <a:effectLst/>
          </c:spPr>
          <c:txPr>
            <a:bodyPr rot="-5400000" spcFirstLastPara="1" vertOverflow="ellipsis" vert="horz" wrap="square" anchor="ctr" anchorCtr="1"/>
            <a:lstStyle/>
            <a:p>
              <a:pPr>
                <a:defRPr sz="1197" b="0" i="0" u="none" strike="noStrike" kern="1200" cap="all" baseline="0">
                  <a:solidFill>
                    <a:schemeClr val="bg1"/>
                  </a:solidFill>
                  <a:latin typeface="+mj-lt"/>
                  <a:ea typeface="+mn-ea"/>
                  <a:cs typeface="+mn-cs"/>
                </a:defRPr>
              </a:pPr>
              <a:endParaRPr lang="en-US"/>
            </a:p>
          </c:txPr>
        </c:title>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bg1"/>
                </a:solidFill>
                <a:latin typeface="+mj-lt"/>
                <a:ea typeface="+mn-ea"/>
                <a:cs typeface="+mn-cs"/>
              </a:defRPr>
            </a:pPr>
            <a:endParaRPr lang="en-US"/>
          </a:p>
        </c:txPr>
        <c:crossAx val="73285745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mj-lt"/>
              <a:ea typeface="+mn-ea"/>
              <a:cs typeface="+mn-cs"/>
            </a:defRPr>
          </a:pPr>
          <a:endParaRPr lang="en-US"/>
        </a:p>
      </c:txPr>
    </c:legend>
    <c:plotVisOnly val="1"/>
    <c:dispBlanksAs val="gap"/>
    <c:showDLblsOverMax val="0"/>
  </c:chart>
  <c:spPr>
    <a:noFill/>
    <a:ln>
      <a:noFill/>
    </a:ln>
    <a:effectLst/>
  </c:spPr>
  <c:txPr>
    <a:bodyPr/>
    <a:lstStyle/>
    <a:p>
      <a:pPr>
        <a:defRPr>
          <a:solidFill>
            <a:schemeClr val="bg1"/>
          </a:solidFill>
          <a:latin typeface="+mj-lt"/>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cap="none" spc="20" baseline="0">
                <a:solidFill>
                  <a:schemeClr val="bg1"/>
                </a:solidFill>
                <a:latin typeface="+mj-lt"/>
                <a:ea typeface="+mn-ea"/>
                <a:cs typeface="+mn-cs"/>
              </a:defRPr>
            </a:pPr>
            <a:r>
              <a:rPr lang="en-US" dirty="0"/>
              <a:t>Violations/Count (%) by Gender </a:t>
            </a:r>
          </a:p>
        </c:rich>
      </c:tx>
      <c:overlay val="0"/>
      <c:spPr>
        <a:noFill/>
        <a:ln>
          <a:noFill/>
        </a:ln>
        <a:effectLst/>
      </c:spPr>
      <c:txPr>
        <a:bodyPr rot="0" spcFirstLastPara="1" vertOverflow="ellipsis" vert="horz" wrap="square" anchor="ctr" anchorCtr="1"/>
        <a:lstStyle/>
        <a:p>
          <a:pPr>
            <a:defRPr sz="1862" b="0" i="0" u="none" strike="noStrike" kern="1200" cap="none" spc="20" baseline="0">
              <a:solidFill>
                <a:schemeClr val="bg1"/>
              </a:solidFill>
              <a:latin typeface="+mj-lt"/>
              <a:ea typeface="+mn-ea"/>
              <a:cs typeface="+mn-cs"/>
            </a:defRPr>
          </a:pPr>
          <a:endParaRPr lang="en-US"/>
        </a:p>
      </c:txPr>
    </c:title>
    <c:autoTitleDeleted val="0"/>
    <c:plotArea>
      <c:layout/>
      <c:barChart>
        <c:barDir val="col"/>
        <c:grouping val="clustered"/>
        <c:varyColors val="0"/>
        <c:ser>
          <c:idx val="0"/>
          <c:order val="0"/>
          <c:tx>
            <c:strRef>
              <c:f>Graphs_Abstract_Median!$AF$29</c:f>
              <c:strCache>
                <c:ptCount val="1"/>
                <c:pt idx="0">
                  <c:v>completeness violations/count (%)</c:v>
                </c:pt>
              </c:strCache>
            </c:strRef>
          </c:tx>
          <c:spPr>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chemeClr>
              </a:solidFill>
              <a:round/>
            </a:ln>
            <a:effectLst>
              <a:outerShdw blurRad="40000" dist="20000" dir="5400000" rotWithShape="0">
                <a:srgbClr val="000000">
                  <a:alpha val="38000"/>
                </a:srgbClr>
              </a:outerShdw>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mj-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Graphs_Abstract_Median!$AC$30:$AC$31</c:f>
              <c:strCache>
                <c:ptCount val="2"/>
                <c:pt idx="0">
                  <c:v>Male (16646)</c:v>
                </c:pt>
                <c:pt idx="1">
                  <c:v>Female (23596)</c:v>
                </c:pt>
              </c:strCache>
            </c:strRef>
          </c:cat>
          <c:val>
            <c:numRef>
              <c:f>Graphs_Abstract_Median!$AF$30:$AF$31</c:f>
              <c:numCache>
                <c:formatCode>0.00</c:formatCode>
                <c:ptCount val="2"/>
                <c:pt idx="0">
                  <c:v>31.422864330918706</c:v>
                </c:pt>
                <c:pt idx="1">
                  <c:v>31.778580353413062</c:v>
                </c:pt>
              </c:numCache>
            </c:numRef>
          </c:val>
          <c:extLst>
            <c:ext xmlns:c16="http://schemas.microsoft.com/office/drawing/2014/chart" uri="{C3380CC4-5D6E-409C-BE32-E72D297353CC}">
              <c16:uniqueId val="{00000000-C3D1-41B5-8EE8-E9B0182CE936}"/>
            </c:ext>
          </c:extLst>
        </c:ser>
        <c:ser>
          <c:idx val="1"/>
          <c:order val="1"/>
          <c:tx>
            <c:strRef>
              <c:f>Graphs_Abstract_Median!$AG$29</c:f>
              <c:strCache>
                <c:ptCount val="1"/>
                <c:pt idx="0">
                  <c:v>syntax violations/count (%)</c:v>
                </c:pt>
              </c:strCache>
            </c:strRef>
          </c:tx>
          <c:spPr>
            <a:gradFill rotWithShape="1">
              <a:gsLst>
                <a:gs pos="0">
                  <a:schemeClr val="accent2">
                    <a:tint val="50000"/>
                    <a:satMod val="300000"/>
                  </a:schemeClr>
                </a:gs>
                <a:gs pos="35000">
                  <a:schemeClr val="accent2">
                    <a:tint val="37000"/>
                    <a:satMod val="300000"/>
                  </a:schemeClr>
                </a:gs>
                <a:gs pos="100000">
                  <a:schemeClr val="accent2">
                    <a:tint val="15000"/>
                    <a:satMod val="350000"/>
                  </a:schemeClr>
                </a:gs>
              </a:gsLst>
              <a:lin ang="16200000" scaled="1"/>
            </a:gradFill>
            <a:ln w="9525" cap="flat" cmpd="sng" algn="ctr">
              <a:solidFill>
                <a:schemeClr val="accent2">
                  <a:shade val="95000"/>
                </a:schemeClr>
              </a:solidFill>
              <a:round/>
            </a:ln>
            <a:effectLst>
              <a:outerShdw blurRad="40000" dist="20000" dir="5400000" rotWithShape="0">
                <a:srgbClr val="000000">
                  <a:alpha val="38000"/>
                </a:srgbClr>
              </a:outerShdw>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mj-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Graphs_Abstract_Median!$AC$30:$AC$31</c:f>
              <c:strCache>
                <c:ptCount val="2"/>
                <c:pt idx="0">
                  <c:v>Male (16646)</c:v>
                </c:pt>
                <c:pt idx="1">
                  <c:v>Female (23596)</c:v>
                </c:pt>
              </c:strCache>
            </c:strRef>
          </c:cat>
          <c:val>
            <c:numRef>
              <c:f>Graphs_Abstract_Median!$AG$30:$AG$31</c:f>
              <c:numCache>
                <c:formatCode>0.00</c:formatCode>
                <c:ptCount val="2"/>
                <c:pt idx="0">
                  <c:v>14.865781640196557</c:v>
                </c:pt>
                <c:pt idx="1">
                  <c:v>15.366373501522867</c:v>
                </c:pt>
              </c:numCache>
            </c:numRef>
          </c:val>
          <c:extLst>
            <c:ext xmlns:c16="http://schemas.microsoft.com/office/drawing/2014/chart" uri="{C3380CC4-5D6E-409C-BE32-E72D297353CC}">
              <c16:uniqueId val="{00000001-C3D1-41B5-8EE8-E9B0182CE936}"/>
            </c:ext>
          </c:extLst>
        </c:ser>
        <c:dLbls>
          <c:dLblPos val="outEnd"/>
          <c:showLegendKey val="0"/>
          <c:showVal val="1"/>
          <c:showCatName val="0"/>
          <c:showSerName val="0"/>
          <c:showPercent val="0"/>
          <c:showBubbleSize val="0"/>
        </c:dLbls>
        <c:gapWidth val="100"/>
        <c:overlap val="-24"/>
        <c:axId val="1357276207"/>
        <c:axId val="1616115519"/>
      </c:barChart>
      <c:catAx>
        <c:axId val="1357276207"/>
        <c:scaling>
          <c:orientation val="minMax"/>
        </c:scaling>
        <c:delete val="0"/>
        <c:axPos val="b"/>
        <c:title>
          <c:tx>
            <c:rich>
              <a:bodyPr rot="0" spcFirstLastPara="1" vertOverflow="ellipsis" vert="horz" wrap="square" anchor="ctr" anchorCtr="1"/>
              <a:lstStyle/>
              <a:p>
                <a:pPr>
                  <a:defRPr sz="1197" b="0" i="0" u="none" strike="noStrike" kern="1200" cap="all" baseline="0">
                    <a:solidFill>
                      <a:schemeClr val="bg1"/>
                    </a:solidFill>
                    <a:latin typeface="+mj-lt"/>
                    <a:ea typeface="+mn-ea"/>
                    <a:cs typeface="+mn-cs"/>
                  </a:defRPr>
                </a:pPr>
                <a:r>
                  <a:rPr lang="en-US" dirty="0"/>
                  <a:t>GENDER</a:t>
                </a:r>
              </a:p>
            </c:rich>
          </c:tx>
          <c:overlay val="0"/>
          <c:spPr>
            <a:noFill/>
            <a:ln>
              <a:noFill/>
            </a:ln>
            <a:effectLst/>
          </c:spPr>
          <c:txPr>
            <a:bodyPr rot="0" spcFirstLastPara="1" vertOverflow="ellipsis" vert="horz" wrap="square" anchor="ctr" anchorCtr="1"/>
            <a:lstStyle/>
            <a:p>
              <a:pPr>
                <a:defRPr sz="1197" b="0" i="0" u="none" strike="noStrike" kern="1200" cap="all" baseline="0">
                  <a:solidFill>
                    <a:schemeClr val="bg1"/>
                  </a:solidFill>
                  <a:latin typeface="+mj-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bg1"/>
                </a:solidFill>
                <a:latin typeface="+mj-lt"/>
                <a:ea typeface="+mn-ea"/>
                <a:cs typeface="+mn-cs"/>
              </a:defRPr>
            </a:pPr>
            <a:endParaRPr lang="en-US"/>
          </a:p>
        </c:txPr>
        <c:crossAx val="1616115519"/>
        <c:crosses val="autoZero"/>
        <c:auto val="1"/>
        <c:lblAlgn val="ctr"/>
        <c:lblOffset val="100"/>
        <c:noMultiLvlLbl val="0"/>
      </c:catAx>
      <c:valAx>
        <c:axId val="1616115519"/>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197" b="0" i="0" u="none" strike="noStrike" kern="1200" cap="all" baseline="0">
                    <a:solidFill>
                      <a:schemeClr val="bg1"/>
                    </a:solidFill>
                    <a:latin typeface="+mj-lt"/>
                    <a:ea typeface="+mn-ea"/>
                    <a:cs typeface="+mn-cs"/>
                  </a:defRPr>
                </a:pPr>
                <a:r>
                  <a:rPr lang="en-US"/>
                  <a:t>Violations/Count (%)</a:t>
                </a:r>
              </a:p>
            </c:rich>
          </c:tx>
          <c:overlay val="0"/>
          <c:spPr>
            <a:noFill/>
            <a:ln>
              <a:noFill/>
            </a:ln>
            <a:effectLst/>
          </c:spPr>
          <c:txPr>
            <a:bodyPr rot="-5400000" spcFirstLastPara="1" vertOverflow="ellipsis" vert="horz" wrap="square" anchor="ctr" anchorCtr="1"/>
            <a:lstStyle/>
            <a:p>
              <a:pPr>
                <a:defRPr sz="1197" b="0" i="0" u="none" strike="noStrike" kern="1200" cap="all" baseline="0">
                  <a:solidFill>
                    <a:schemeClr val="bg1"/>
                  </a:solidFill>
                  <a:latin typeface="+mj-lt"/>
                  <a:ea typeface="+mn-ea"/>
                  <a:cs typeface="+mn-cs"/>
                </a:defRPr>
              </a:pPr>
              <a:endParaRPr lang="en-US"/>
            </a:p>
          </c:txPr>
        </c:title>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bg1"/>
                </a:solidFill>
                <a:latin typeface="+mj-lt"/>
                <a:ea typeface="+mn-ea"/>
                <a:cs typeface="+mn-cs"/>
              </a:defRPr>
            </a:pPr>
            <a:endParaRPr lang="en-US"/>
          </a:p>
        </c:txPr>
        <c:crossAx val="1357276207"/>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mj-lt"/>
              <a:ea typeface="+mn-ea"/>
              <a:cs typeface="+mn-cs"/>
            </a:defRPr>
          </a:pPr>
          <a:endParaRPr lang="en-US"/>
        </a:p>
      </c:txPr>
    </c:legend>
    <c:plotVisOnly val="1"/>
    <c:dispBlanksAs val="gap"/>
    <c:showDLblsOverMax val="0"/>
  </c:chart>
  <c:spPr>
    <a:noFill/>
    <a:ln>
      <a:noFill/>
    </a:ln>
    <a:effectLst/>
  </c:spPr>
  <c:txPr>
    <a:bodyPr/>
    <a:lstStyle/>
    <a:p>
      <a:pPr>
        <a:defRPr>
          <a:solidFill>
            <a:schemeClr val="bg1"/>
          </a:solidFill>
          <a:latin typeface="+mj-lt"/>
        </a:defRPr>
      </a:pPr>
      <a:endParaRPr lang="en-US"/>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cap="none" spc="20" baseline="0">
                <a:solidFill>
                  <a:schemeClr val="bg1"/>
                </a:solidFill>
                <a:latin typeface="+mj-lt"/>
                <a:ea typeface="+mn-ea"/>
                <a:cs typeface="+mn-cs"/>
              </a:defRPr>
            </a:pPr>
            <a:r>
              <a:rPr lang="en-US"/>
              <a:t>Violations/Size (MB) by Religion</a:t>
            </a:r>
          </a:p>
        </c:rich>
      </c:tx>
      <c:overlay val="0"/>
      <c:spPr>
        <a:noFill/>
        <a:ln>
          <a:noFill/>
        </a:ln>
        <a:effectLst/>
      </c:spPr>
      <c:txPr>
        <a:bodyPr rot="0" spcFirstLastPara="1" vertOverflow="ellipsis" vert="horz" wrap="square" anchor="ctr" anchorCtr="1"/>
        <a:lstStyle/>
        <a:p>
          <a:pPr>
            <a:defRPr sz="1862" b="0" i="0" u="none" strike="noStrike" kern="1200" cap="none" spc="20" baseline="0">
              <a:solidFill>
                <a:schemeClr val="bg1"/>
              </a:solidFill>
              <a:latin typeface="+mj-lt"/>
              <a:ea typeface="+mn-ea"/>
              <a:cs typeface="+mn-cs"/>
            </a:defRPr>
          </a:pPr>
          <a:endParaRPr lang="en-US"/>
        </a:p>
      </c:txPr>
    </c:title>
    <c:autoTitleDeleted val="0"/>
    <c:plotArea>
      <c:layout/>
      <c:barChart>
        <c:barDir val="col"/>
        <c:grouping val="clustered"/>
        <c:varyColors val="0"/>
        <c:ser>
          <c:idx val="0"/>
          <c:order val="0"/>
          <c:tx>
            <c:strRef>
              <c:f>Graphs_Abstract_Median!$AM$47</c:f>
              <c:strCache>
                <c:ptCount val="1"/>
                <c:pt idx="0">
                  <c:v>completeness violations/size (MB)</c:v>
                </c:pt>
              </c:strCache>
            </c:strRef>
          </c:tx>
          <c:spPr>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chemeClr>
              </a:solidFill>
              <a:round/>
            </a:ln>
            <a:effectLst>
              <a:outerShdw blurRad="40000" dist="20000" dir="5400000" rotWithShape="0">
                <a:srgbClr val="000000">
                  <a:alpha val="38000"/>
                </a:srgbClr>
              </a:outerShdw>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mj-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Graphs_Abstract_Median!$AL$48:$AL$51</c:f>
              <c:strCache>
                <c:ptCount val="4"/>
                <c:pt idx="0">
                  <c:v>Christian (1907)</c:v>
                </c:pt>
                <c:pt idx="1">
                  <c:v>Irreligious (134)</c:v>
                </c:pt>
                <c:pt idx="2">
                  <c:v>Other (138)</c:v>
                </c:pt>
                <c:pt idx="3">
                  <c:v>Unknown (38063)</c:v>
                </c:pt>
              </c:strCache>
            </c:strRef>
          </c:cat>
          <c:val>
            <c:numRef>
              <c:f>Graphs_Abstract_Median!$AM$48:$AM$51</c:f>
              <c:numCache>
                <c:formatCode>0.00</c:formatCode>
                <c:ptCount val="4"/>
                <c:pt idx="0">
                  <c:v>44.082818813209251</c:v>
                </c:pt>
                <c:pt idx="1">
                  <c:v>49.286391231044675</c:v>
                </c:pt>
                <c:pt idx="2">
                  <c:v>42.635765178370846</c:v>
                </c:pt>
                <c:pt idx="3">
                  <c:v>60.800441946654857</c:v>
                </c:pt>
              </c:numCache>
            </c:numRef>
          </c:val>
          <c:extLst>
            <c:ext xmlns:c16="http://schemas.microsoft.com/office/drawing/2014/chart" uri="{C3380CC4-5D6E-409C-BE32-E72D297353CC}">
              <c16:uniqueId val="{00000000-C3A5-47C3-AB95-2746D1DF6A84}"/>
            </c:ext>
          </c:extLst>
        </c:ser>
        <c:ser>
          <c:idx val="1"/>
          <c:order val="1"/>
          <c:tx>
            <c:strRef>
              <c:f>Graphs_Abstract_Median!$AN$47</c:f>
              <c:strCache>
                <c:ptCount val="1"/>
                <c:pt idx="0">
                  <c:v>syntax violations/size (MB)</c:v>
                </c:pt>
              </c:strCache>
            </c:strRef>
          </c:tx>
          <c:spPr>
            <a:gradFill rotWithShape="1">
              <a:gsLst>
                <a:gs pos="0">
                  <a:schemeClr val="accent2">
                    <a:tint val="50000"/>
                    <a:satMod val="300000"/>
                  </a:schemeClr>
                </a:gs>
                <a:gs pos="35000">
                  <a:schemeClr val="accent2">
                    <a:tint val="37000"/>
                    <a:satMod val="300000"/>
                  </a:schemeClr>
                </a:gs>
                <a:gs pos="100000">
                  <a:schemeClr val="accent2">
                    <a:tint val="15000"/>
                    <a:satMod val="350000"/>
                  </a:schemeClr>
                </a:gs>
              </a:gsLst>
              <a:lin ang="16200000" scaled="1"/>
            </a:gradFill>
            <a:ln w="9525" cap="flat" cmpd="sng" algn="ctr">
              <a:solidFill>
                <a:schemeClr val="accent2">
                  <a:shade val="95000"/>
                </a:schemeClr>
              </a:solidFill>
              <a:round/>
            </a:ln>
            <a:effectLst>
              <a:outerShdw blurRad="40000" dist="20000" dir="5400000" rotWithShape="0">
                <a:srgbClr val="000000">
                  <a:alpha val="38000"/>
                </a:srgbClr>
              </a:outerShdw>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mj-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Graphs_Abstract_Median!$AL$48:$AL$51</c:f>
              <c:strCache>
                <c:ptCount val="4"/>
                <c:pt idx="0">
                  <c:v>Christian (1907)</c:v>
                </c:pt>
                <c:pt idx="1">
                  <c:v>Irreligious (134)</c:v>
                </c:pt>
                <c:pt idx="2">
                  <c:v>Other (138)</c:v>
                </c:pt>
                <c:pt idx="3">
                  <c:v>Unknown (38063)</c:v>
                </c:pt>
              </c:strCache>
            </c:strRef>
          </c:cat>
          <c:val>
            <c:numRef>
              <c:f>Graphs_Abstract_Median!$AN$48:$AN$51</c:f>
              <c:numCache>
                <c:formatCode>0.00</c:formatCode>
                <c:ptCount val="4"/>
                <c:pt idx="0">
                  <c:v>37.070849117445142</c:v>
                </c:pt>
                <c:pt idx="1">
                  <c:v>53.773103392480081</c:v>
                </c:pt>
                <c:pt idx="2">
                  <c:v>37.096816114354567</c:v>
                </c:pt>
                <c:pt idx="3">
                  <c:v>37.654814095170764</c:v>
                </c:pt>
              </c:numCache>
            </c:numRef>
          </c:val>
          <c:extLst>
            <c:ext xmlns:c16="http://schemas.microsoft.com/office/drawing/2014/chart" uri="{C3380CC4-5D6E-409C-BE32-E72D297353CC}">
              <c16:uniqueId val="{00000001-C3A5-47C3-AB95-2746D1DF6A84}"/>
            </c:ext>
          </c:extLst>
        </c:ser>
        <c:dLbls>
          <c:dLblPos val="outEnd"/>
          <c:showLegendKey val="0"/>
          <c:showVal val="1"/>
          <c:showCatName val="0"/>
          <c:showSerName val="0"/>
          <c:showPercent val="0"/>
          <c:showBubbleSize val="0"/>
        </c:dLbls>
        <c:gapWidth val="100"/>
        <c:overlap val="-24"/>
        <c:axId val="1287902143"/>
        <c:axId val="1280276831"/>
      </c:barChart>
      <c:catAx>
        <c:axId val="1287902143"/>
        <c:scaling>
          <c:orientation val="minMax"/>
        </c:scaling>
        <c:delete val="0"/>
        <c:axPos val="b"/>
        <c:title>
          <c:tx>
            <c:rich>
              <a:bodyPr rot="0" spcFirstLastPara="1" vertOverflow="ellipsis" vert="horz" wrap="square" anchor="ctr" anchorCtr="1"/>
              <a:lstStyle/>
              <a:p>
                <a:pPr>
                  <a:defRPr sz="1197" b="0" i="0" u="none" strike="noStrike" kern="1200" cap="all" baseline="0">
                    <a:solidFill>
                      <a:schemeClr val="bg1"/>
                    </a:solidFill>
                    <a:latin typeface="+mj-lt"/>
                    <a:ea typeface="+mn-ea"/>
                    <a:cs typeface="+mn-cs"/>
                  </a:defRPr>
                </a:pPr>
                <a:r>
                  <a:rPr lang="en-US"/>
                  <a:t>Religion</a:t>
                </a:r>
              </a:p>
            </c:rich>
          </c:tx>
          <c:overlay val="0"/>
          <c:spPr>
            <a:noFill/>
            <a:ln>
              <a:noFill/>
            </a:ln>
            <a:effectLst/>
          </c:spPr>
          <c:txPr>
            <a:bodyPr rot="0" spcFirstLastPara="1" vertOverflow="ellipsis" vert="horz" wrap="square" anchor="ctr" anchorCtr="1"/>
            <a:lstStyle/>
            <a:p>
              <a:pPr>
                <a:defRPr sz="1197" b="0" i="0" u="none" strike="noStrike" kern="1200" cap="all" baseline="0">
                  <a:solidFill>
                    <a:schemeClr val="bg1"/>
                  </a:solidFill>
                  <a:latin typeface="+mj-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bg1"/>
                </a:solidFill>
                <a:latin typeface="+mj-lt"/>
                <a:ea typeface="+mn-ea"/>
                <a:cs typeface="+mn-cs"/>
              </a:defRPr>
            </a:pPr>
            <a:endParaRPr lang="en-US"/>
          </a:p>
        </c:txPr>
        <c:crossAx val="1280276831"/>
        <c:crosses val="autoZero"/>
        <c:auto val="1"/>
        <c:lblAlgn val="ctr"/>
        <c:lblOffset val="100"/>
        <c:noMultiLvlLbl val="0"/>
      </c:catAx>
      <c:valAx>
        <c:axId val="1280276831"/>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197" b="0" i="0" u="none" strike="noStrike" kern="1200" cap="all" baseline="0">
                    <a:solidFill>
                      <a:schemeClr val="bg1"/>
                    </a:solidFill>
                    <a:latin typeface="+mj-lt"/>
                    <a:ea typeface="+mn-ea"/>
                    <a:cs typeface="+mn-cs"/>
                  </a:defRPr>
                </a:pPr>
                <a:r>
                  <a:rPr lang="en-US"/>
                  <a:t>Violations/Size (MB)</a:t>
                </a:r>
              </a:p>
            </c:rich>
          </c:tx>
          <c:overlay val="0"/>
          <c:spPr>
            <a:noFill/>
            <a:ln>
              <a:noFill/>
            </a:ln>
            <a:effectLst/>
          </c:spPr>
          <c:txPr>
            <a:bodyPr rot="-5400000" spcFirstLastPara="1" vertOverflow="ellipsis" vert="horz" wrap="square" anchor="ctr" anchorCtr="1"/>
            <a:lstStyle/>
            <a:p>
              <a:pPr>
                <a:defRPr sz="1197" b="0" i="0" u="none" strike="noStrike" kern="1200" cap="all" baseline="0">
                  <a:solidFill>
                    <a:schemeClr val="bg1"/>
                  </a:solidFill>
                  <a:latin typeface="+mj-lt"/>
                  <a:ea typeface="+mn-ea"/>
                  <a:cs typeface="+mn-cs"/>
                </a:defRPr>
              </a:pPr>
              <a:endParaRPr lang="en-US"/>
            </a:p>
          </c:txPr>
        </c:title>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bg1"/>
                </a:solidFill>
                <a:latin typeface="+mj-lt"/>
                <a:ea typeface="+mn-ea"/>
                <a:cs typeface="+mn-cs"/>
              </a:defRPr>
            </a:pPr>
            <a:endParaRPr lang="en-US"/>
          </a:p>
        </c:txPr>
        <c:crossAx val="1287902143"/>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mj-lt"/>
              <a:ea typeface="+mn-ea"/>
              <a:cs typeface="+mn-cs"/>
            </a:defRPr>
          </a:pPr>
          <a:endParaRPr lang="en-US"/>
        </a:p>
      </c:txPr>
    </c:legend>
    <c:plotVisOnly val="1"/>
    <c:dispBlanksAs val="gap"/>
    <c:showDLblsOverMax val="0"/>
  </c:chart>
  <c:spPr>
    <a:noFill/>
    <a:ln>
      <a:noFill/>
    </a:ln>
    <a:effectLst/>
  </c:spPr>
  <c:txPr>
    <a:bodyPr/>
    <a:lstStyle/>
    <a:p>
      <a:pPr>
        <a:defRPr>
          <a:solidFill>
            <a:schemeClr val="bg1"/>
          </a:solidFill>
          <a:latin typeface="+mj-lt"/>
        </a:defRPr>
      </a:pPr>
      <a:endParaRPr lang="en-US"/>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cap="none" spc="20" baseline="0">
                <a:solidFill>
                  <a:schemeClr val="bg1"/>
                </a:solidFill>
                <a:latin typeface="+mj-lt"/>
                <a:ea typeface="+mn-ea"/>
                <a:cs typeface="+mn-cs"/>
              </a:defRPr>
            </a:pPr>
            <a:r>
              <a:rPr lang="en-US"/>
              <a:t>Violations/Count (%) by Religion</a:t>
            </a:r>
          </a:p>
        </c:rich>
      </c:tx>
      <c:overlay val="0"/>
      <c:spPr>
        <a:noFill/>
        <a:ln>
          <a:noFill/>
        </a:ln>
        <a:effectLst/>
      </c:spPr>
      <c:txPr>
        <a:bodyPr rot="0" spcFirstLastPara="1" vertOverflow="ellipsis" vert="horz" wrap="square" anchor="ctr" anchorCtr="1"/>
        <a:lstStyle/>
        <a:p>
          <a:pPr>
            <a:defRPr sz="1862" b="0" i="0" u="none" strike="noStrike" kern="1200" cap="none" spc="20" baseline="0">
              <a:solidFill>
                <a:schemeClr val="bg1"/>
              </a:solidFill>
              <a:latin typeface="+mj-lt"/>
              <a:ea typeface="+mn-ea"/>
              <a:cs typeface="+mn-cs"/>
            </a:defRPr>
          </a:pPr>
          <a:endParaRPr lang="en-US"/>
        </a:p>
      </c:txPr>
    </c:title>
    <c:autoTitleDeleted val="0"/>
    <c:plotArea>
      <c:layout/>
      <c:barChart>
        <c:barDir val="col"/>
        <c:grouping val="clustered"/>
        <c:varyColors val="0"/>
        <c:ser>
          <c:idx val="0"/>
          <c:order val="0"/>
          <c:tx>
            <c:strRef>
              <c:f>Graphs_Abstract_Median!$AO$47</c:f>
              <c:strCache>
                <c:ptCount val="1"/>
                <c:pt idx="0">
                  <c:v>completeness violations/count (%)</c:v>
                </c:pt>
              </c:strCache>
            </c:strRef>
          </c:tx>
          <c:spPr>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chemeClr>
              </a:solidFill>
              <a:round/>
            </a:ln>
            <a:effectLst>
              <a:outerShdw blurRad="40000" dist="20000" dir="5400000" rotWithShape="0">
                <a:srgbClr val="000000">
                  <a:alpha val="38000"/>
                </a:srgbClr>
              </a:outerShdw>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mj-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Graphs_Abstract_Median!$AL$48:$AL$51</c:f>
              <c:strCache>
                <c:ptCount val="4"/>
                <c:pt idx="0">
                  <c:v>Christian (1907)</c:v>
                </c:pt>
                <c:pt idx="1">
                  <c:v>Irreligious (134)</c:v>
                </c:pt>
                <c:pt idx="2">
                  <c:v>Other (138)</c:v>
                </c:pt>
                <c:pt idx="3">
                  <c:v>Unknown (38063)</c:v>
                </c:pt>
              </c:strCache>
            </c:strRef>
          </c:cat>
          <c:val>
            <c:numRef>
              <c:f>Graphs_Abstract_Median!$AO$48:$AO$51</c:f>
              <c:numCache>
                <c:formatCode>0.00</c:formatCode>
                <c:ptCount val="4"/>
                <c:pt idx="0">
                  <c:v>28.639396250115613</c:v>
                </c:pt>
                <c:pt idx="1">
                  <c:v>20.7566459111023</c:v>
                </c:pt>
                <c:pt idx="2">
                  <c:v>28.302994893733462</c:v>
                </c:pt>
                <c:pt idx="3">
                  <c:v>31.831696113686164</c:v>
                </c:pt>
              </c:numCache>
            </c:numRef>
          </c:val>
          <c:extLst>
            <c:ext xmlns:c16="http://schemas.microsoft.com/office/drawing/2014/chart" uri="{C3380CC4-5D6E-409C-BE32-E72D297353CC}">
              <c16:uniqueId val="{00000000-62D4-461E-9C8F-E746FFD2A329}"/>
            </c:ext>
          </c:extLst>
        </c:ser>
        <c:ser>
          <c:idx val="1"/>
          <c:order val="1"/>
          <c:tx>
            <c:strRef>
              <c:f>Graphs_Abstract_Median!$AP$47</c:f>
              <c:strCache>
                <c:ptCount val="1"/>
                <c:pt idx="0">
                  <c:v>syntax violations/count (%)</c:v>
                </c:pt>
              </c:strCache>
            </c:strRef>
          </c:tx>
          <c:spPr>
            <a:gradFill rotWithShape="1">
              <a:gsLst>
                <a:gs pos="0">
                  <a:schemeClr val="accent2">
                    <a:tint val="50000"/>
                    <a:satMod val="300000"/>
                  </a:schemeClr>
                </a:gs>
                <a:gs pos="35000">
                  <a:schemeClr val="accent2">
                    <a:tint val="37000"/>
                    <a:satMod val="300000"/>
                  </a:schemeClr>
                </a:gs>
                <a:gs pos="100000">
                  <a:schemeClr val="accent2">
                    <a:tint val="15000"/>
                    <a:satMod val="350000"/>
                  </a:schemeClr>
                </a:gs>
              </a:gsLst>
              <a:lin ang="16200000" scaled="1"/>
            </a:gradFill>
            <a:ln w="9525" cap="flat" cmpd="sng" algn="ctr">
              <a:solidFill>
                <a:schemeClr val="accent2">
                  <a:shade val="95000"/>
                </a:schemeClr>
              </a:solidFill>
              <a:round/>
            </a:ln>
            <a:effectLst>
              <a:outerShdw blurRad="40000" dist="20000" dir="5400000" rotWithShape="0">
                <a:srgbClr val="000000">
                  <a:alpha val="38000"/>
                </a:srgbClr>
              </a:outerShdw>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mj-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Graphs_Abstract_Median!$AL$48:$AL$51</c:f>
              <c:strCache>
                <c:ptCount val="4"/>
                <c:pt idx="0">
                  <c:v>Christian (1907)</c:v>
                </c:pt>
                <c:pt idx="1">
                  <c:v>Irreligious (134)</c:v>
                </c:pt>
                <c:pt idx="2">
                  <c:v>Other (138)</c:v>
                </c:pt>
                <c:pt idx="3">
                  <c:v>Unknown (38063)</c:v>
                </c:pt>
              </c:strCache>
            </c:strRef>
          </c:cat>
          <c:val>
            <c:numRef>
              <c:f>Graphs_Abstract_Median!$AP$48:$AP$51</c:f>
              <c:numCache>
                <c:formatCode>0.00</c:formatCode>
                <c:ptCount val="4"/>
                <c:pt idx="0">
                  <c:v>18.518394620785983</c:v>
                </c:pt>
                <c:pt idx="1">
                  <c:v>15.918277097048698</c:v>
                </c:pt>
                <c:pt idx="2">
                  <c:v>19.697583383456202</c:v>
                </c:pt>
                <c:pt idx="3">
                  <c:v>14.971884931426805</c:v>
                </c:pt>
              </c:numCache>
            </c:numRef>
          </c:val>
          <c:extLst>
            <c:ext xmlns:c16="http://schemas.microsoft.com/office/drawing/2014/chart" uri="{C3380CC4-5D6E-409C-BE32-E72D297353CC}">
              <c16:uniqueId val="{00000001-62D4-461E-9C8F-E746FFD2A329}"/>
            </c:ext>
          </c:extLst>
        </c:ser>
        <c:dLbls>
          <c:dLblPos val="outEnd"/>
          <c:showLegendKey val="0"/>
          <c:showVal val="1"/>
          <c:showCatName val="0"/>
          <c:showSerName val="0"/>
          <c:showPercent val="0"/>
          <c:showBubbleSize val="0"/>
        </c:dLbls>
        <c:gapWidth val="100"/>
        <c:overlap val="-24"/>
        <c:axId val="1303449199"/>
        <c:axId val="1303507599"/>
      </c:barChart>
      <c:catAx>
        <c:axId val="1303449199"/>
        <c:scaling>
          <c:orientation val="minMax"/>
        </c:scaling>
        <c:delete val="0"/>
        <c:axPos val="b"/>
        <c:title>
          <c:tx>
            <c:rich>
              <a:bodyPr rot="0" spcFirstLastPara="1" vertOverflow="ellipsis" vert="horz" wrap="square" anchor="ctr" anchorCtr="1"/>
              <a:lstStyle/>
              <a:p>
                <a:pPr>
                  <a:defRPr sz="1197" b="0" i="0" u="none" strike="noStrike" kern="1200" cap="all" baseline="0">
                    <a:solidFill>
                      <a:schemeClr val="bg1"/>
                    </a:solidFill>
                    <a:latin typeface="+mj-lt"/>
                    <a:ea typeface="+mn-ea"/>
                    <a:cs typeface="+mn-cs"/>
                  </a:defRPr>
                </a:pPr>
                <a:r>
                  <a:rPr lang="en-US"/>
                  <a:t>Religion</a:t>
                </a:r>
              </a:p>
            </c:rich>
          </c:tx>
          <c:overlay val="0"/>
          <c:spPr>
            <a:noFill/>
            <a:ln>
              <a:noFill/>
            </a:ln>
            <a:effectLst/>
          </c:spPr>
          <c:txPr>
            <a:bodyPr rot="0" spcFirstLastPara="1" vertOverflow="ellipsis" vert="horz" wrap="square" anchor="ctr" anchorCtr="1"/>
            <a:lstStyle/>
            <a:p>
              <a:pPr>
                <a:defRPr sz="1197" b="0" i="0" u="none" strike="noStrike" kern="1200" cap="all" baseline="0">
                  <a:solidFill>
                    <a:schemeClr val="bg1"/>
                  </a:solidFill>
                  <a:latin typeface="+mj-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bg1"/>
                </a:solidFill>
                <a:latin typeface="+mj-lt"/>
                <a:ea typeface="+mn-ea"/>
                <a:cs typeface="+mn-cs"/>
              </a:defRPr>
            </a:pPr>
            <a:endParaRPr lang="en-US"/>
          </a:p>
        </c:txPr>
        <c:crossAx val="1303507599"/>
        <c:crosses val="autoZero"/>
        <c:auto val="1"/>
        <c:lblAlgn val="ctr"/>
        <c:lblOffset val="100"/>
        <c:noMultiLvlLbl val="0"/>
      </c:catAx>
      <c:valAx>
        <c:axId val="1303507599"/>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197" b="0" i="0" u="none" strike="noStrike" kern="1200" cap="all" baseline="0">
                    <a:solidFill>
                      <a:schemeClr val="bg1"/>
                    </a:solidFill>
                    <a:latin typeface="+mj-lt"/>
                    <a:ea typeface="+mn-ea"/>
                    <a:cs typeface="+mn-cs"/>
                  </a:defRPr>
                </a:pPr>
                <a:r>
                  <a:rPr lang="en-US"/>
                  <a:t>Violations/Count (%)</a:t>
                </a:r>
              </a:p>
            </c:rich>
          </c:tx>
          <c:overlay val="0"/>
          <c:spPr>
            <a:noFill/>
            <a:ln>
              <a:noFill/>
            </a:ln>
            <a:effectLst/>
          </c:spPr>
          <c:txPr>
            <a:bodyPr rot="-5400000" spcFirstLastPara="1" vertOverflow="ellipsis" vert="horz" wrap="square" anchor="ctr" anchorCtr="1"/>
            <a:lstStyle/>
            <a:p>
              <a:pPr>
                <a:defRPr sz="1197" b="0" i="0" u="none" strike="noStrike" kern="1200" cap="all" baseline="0">
                  <a:solidFill>
                    <a:schemeClr val="bg1"/>
                  </a:solidFill>
                  <a:latin typeface="+mj-lt"/>
                  <a:ea typeface="+mn-ea"/>
                  <a:cs typeface="+mn-cs"/>
                </a:defRPr>
              </a:pPr>
              <a:endParaRPr lang="en-US"/>
            </a:p>
          </c:txPr>
        </c:title>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bg1"/>
                </a:solidFill>
                <a:latin typeface="+mj-lt"/>
                <a:ea typeface="+mn-ea"/>
                <a:cs typeface="+mn-cs"/>
              </a:defRPr>
            </a:pPr>
            <a:endParaRPr lang="en-US"/>
          </a:p>
        </c:txPr>
        <c:crossAx val="1303449199"/>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mj-lt"/>
              <a:ea typeface="+mn-ea"/>
              <a:cs typeface="+mn-cs"/>
            </a:defRPr>
          </a:pPr>
          <a:endParaRPr lang="en-US"/>
        </a:p>
      </c:txPr>
    </c:legend>
    <c:plotVisOnly val="1"/>
    <c:dispBlanksAs val="gap"/>
    <c:showDLblsOverMax val="0"/>
  </c:chart>
  <c:spPr>
    <a:noFill/>
    <a:ln>
      <a:noFill/>
    </a:ln>
    <a:effectLst/>
  </c:spPr>
  <c:txPr>
    <a:bodyPr/>
    <a:lstStyle/>
    <a:p>
      <a:pPr>
        <a:defRPr>
          <a:solidFill>
            <a:schemeClr val="bg1"/>
          </a:solidFill>
          <a:latin typeface="+mj-lt"/>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Schematron Errors/Size (MB) vs. Syntax</a:t>
            </a:r>
            <a:r>
              <a:rPr lang="en-US" baseline="0"/>
              <a:t> Errors/Size (MB)</a:t>
            </a:r>
            <a:endParaRPr lang="en-US"/>
          </a:p>
        </c:rich>
      </c:tx>
      <c:overlay val="0"/>
      <c:spPr>
        <a:noFill/>
        <a:ln w="25400">
          <a:noFill/>
        </a:ln>
      </c:spPr>
    </c:title>
    <c:autoTitleDeleted val="0"/>
    <c:plotArea>
      <c:layout/>
      <c:scatterChart>
        <c:scatterStyle val="lineMarker"/>
        <c:varyColors val="0"/>
        <c:ser>
          <c:idx val="0"/>
          <c:order val="0"/>
          <c:tx>
            <c:strRef>
              <c:f>'Schema Schematron vs Syntax Cmp'!$K$1</c:f>
              <c:strCache>
                <c:ptCount val="1"/>
                <c:pt idx="0">
                  <c:v>Syntax_Violations/size</c:v>
                </c:pt>
              </c:strCache>
            </c:strRef>
          </c:tx>
          <c:spPr>
            <a:ln w="19050">
              <a:noFill/>
            </a:ln>
          </c:spPr>
          <c:marker>
            <c:symbol val="circle"/>
            <c:size val="5"/>
            <c:spPr>
              <a:solidFill>
                <a:schemeClr val="accent1"/>
              </a:solidFill>
              <a:ln w="9525">
                <a:solidFill>
                  <a:schemeClr val="accent1"/>
                </a:solidFill>
              </a:ln>
              <a:effectLst/>
            </c:spPr>
          </c:marker>
          <c:trendline>
            <c:spPr>
              <a:ln w="19050" cap="rnd">
                <a:solidFill>
                  <a:schemeClr val="accent1"/>
                </a:solidFill>
                <a:prstDash val="sysDot"/>
              </a:ln>
              <a:effectLst/>
            </c:spPr>
            <c:trendlineType val="linear"/>
            <c:dispRSqr val="1"/>
            <c:dispEq val="1"/>
            <c:trendlineLbl>
              <c:layout>
                <c:manualLayout>
                  <c:x val="-2.0510498687664042E-2"/>
                  <c:y val="-0.33955562846310877"/>
                </c:manualLayout>
              </c:layout>
              <c:tx>
                <c:rich>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r>
                      <a:rPr lang="en-US" baseline="0" dirty="0"/>
                      <a:t>y = 0.0043x + 24.334</a:t>
                    </a:r>
                    <a:br>
                      <a:rPr lang="en-US" baseline="0" dirty="0"/>
                    </a:br>
                    <a:r>
                      <a:rPr lang="en-US" baseline="0" dirty="0">
                        <a:highlight>
                          <a:srgbClr val="00FF00"/>
                        </a:highlight>
                      </a:rPr>
                      <a:t>R² = 0.0003</a:t>
                    </a:r>
                    <a:endParaRPr lang="en-US" dirty="0">
                      <a:highlight>
                        <a:srgbClr val="00FF00"/>
                      </a:highlight>
                    </a:endParaRPr>
                  </a:p>
                </c:rich>
              </c:tx>
              <c:numFmt formatCode="General" sourceLinked="0"/>
              <c:spPr>
                <a:noFill/>
                <a:ln w="25400">
                  <a:noFill/>
                </a:ln>
              </c:spPr>
            </c:trendlineLbl>
          </c:trendline>
          <c:xVal>
            <c:numRef>
              <c:f>'Schema Schematron vs Syntax Cmp'!$H$2:$H$801</c:f>
              <c:numCache>
                <c:formatCode>General</c:formatCode>
                <c:ptCount val="800"/>
                <c:pt idx="0">
                  <c:v>30.900725240021384</c:v>
                </c:pt>
                <c:pt idx="1">
                  <c:v>115.69281730277419</c:v>
                </c:pt>
                <c:pt idx="2">
                  <c:v>39.706624766723579</c:v>
                </c:pt>
                <c:pt idx="3">
                  <c:v>72.625956516859119</c:v>
                </c:pt>
                <c:pt idx="4">
                  <c:v>51.331847561523354</c:v>
                </c:pt>
                <c:pt idx="5">
                  <c:v>68.057304250178646</c:v>
                </c:pt>
                <c:pt idx="6">
                  <c:v>51.364365971107546</c:v>
                </c:pt>
                <c:pt idx="7">
                  <c:v>41.017788047416566</c:v>
                </c:pt>
                <c:pt idx="8">
                  <c:v>31.349600292596268</c:v>
                </c:pt>
                <c:pt idx="9">
                  <c:v>128.5488669335586</c:v>
                </c:pt>
                <c:pt idx="10">
                  <c:v>31.164729836419799</c:v>
                </c:pt>
                <c:pt idx="11">
                  <c:v>64.716541548019677</c:v>
                </c:pt>
                <c:pt idx="12">
                  <c:v>44.57555962588949</c:v>
                </c:pt>
                <c:pt idx="13">
                  <c:v>232.22918909789516</c:v>
                </c:pt>
                <c:pt idx="14">
                  <c:v>69.621398833145349</c:v>
                </c:pt>
                <c:pt idx="15">
                  <c:v>44.57555962588949</c:v>
                </c:pt>
                <c:pt idx="16">
                  <c:v>41.151801513638077</c:v>
                </c:pt>
                <c:pt idx="17">
                  <c:v>43.36207877805662</c:v>
                </c:pt>
                <c:pt idx="18">
                  <c:v>112.9501061730998</c:v>
                </c:pt>
                <c:pt idx="19">
                  <c:v>93.689431246596428</c:v>
                </c:pt>
                <c:pt idx="20">
                  <c:v>31.21573585244322</c:v>
                </c:pt>
                <c:pt idx="21">
                  <c:v>48.966800509254725</c:v>
                </c:pt>
                <c:pt idx="22">
                  <c:v>76.334712447138202</c:v>
                </c:pt>
                <c:pt idx="23">
                  <c:v>39.643211100099109</c:v>
                </c:pt>
                <c:pt idx="24">
                  <c:v>100.62314476076847</c:v>
                </c:pt>
                <c:pt idx="25">
                  <c:v>26.933332307301626</c:v>
                </c:pt>
                <c:pt idx="26">
                  <c:v>38.531685889696632</c:v>
                </c:pt>
                <c:pt idx="27">
                  <c:v>9.44911650760654</c:v>
                </c:pt>
                <c:pt idx="28">
                  <c:v>70.787015483298347</c:v>
                </c:pt>
                <c:pt idx="29">
                  <c:v>74.964945369296061</c:v>
                </c:pt>
                <c:pt idx="30">
                  <c:v>8.9046005618802955</c:v>
                </c:pt>
                <c:pt idx="31">
                  <c:v>20.429913479316419</c:v>
                </c:pt>
                <c:pt idx="32">
                  <c:v>26.783698675737412</c:v>
                </c:pt>
                <c:pt idx="33">
                  <c:v>54.244771275742686</c:v>
                </c:pt>
                <c:pt idx="34">
                  <c:v>60.559081439852719</c:v>
                </c:pt>
                <c:pt idx="35">
                  <c:v>23.585925492061374</c:v>
                </c:pt>
                <c:pt idx="36">
                  <c:v>53.902253653225245</c:v>
                </c:pt>
                <c:pt idx="37">
                  <c:v>51.531339643059589</c:v>
                </c:pt>
                <c:pt idx="38">
                  <c:v>34.153005464480877</c:v>
                </c:pt>
                <c:pt idx="39">
                  <c:v>48.994790220639871</c:v>
                </c:pt>
                <c:pt idx="40">
                  <c:v>58.7986264640858</c:v>
                </c:pt>
                <c:pt idx="41">
                  <c:v>70.778504568162646</c:v>
                </c:pt>
                <c:pt idx="42">
                  <c:v>23.329105816582327</c:v>
                </c:pt>
                <c:pt idx="43">
                  <c:v>89.784741083252896</c:v>
                </c:pt>
                <c:pt idx="44">
                  <c:v>31.798018983417332</c:v>
                </c:pt>
                <c:pt idx="45">
                  <c:v>69.360860074664927</c:v>
                </c:pt>
                <c:pt idx="46">
                  <c:v>245.9698781503065</c:v>
                </c:pt>
                <c:pt idx="47">
                  <c:v>17.234247897421756</c:v>
                </c:pt>
                <c:pt idx="48">
                  <c:v>158.17779183802594</c:v>
                </c:pt>
                <c:pt idx="49">
                  <c:v>34.70685720731273</c:v>
                </c:pt>
                <c:pt idx="50">
                  <c:v>54.152406532946323</c:v>
                </c:pt>
                <c:pt idx="51">
                  <c:v>87.859307961517615</c:v>
                </c:pt>
                <c:pt idx="52">
                  <c:v>34.407453059126176</c:v>
                </c:pt>
                <c:pt idx="53">
                  <c:v>24.611033797661502</c:v>
                </c:pt>
                <c:pt idx="54">
                  <c:v>26.547078399211173</c:v>
                </c:pt>
                <c:pt idx="55">
                  <c:v>180.96272167933407</c:v>
                </c:pt>
                <c:pt idx="56">
                  <c:v>24.453764045630724</c:v>
                </c:pt>
                <c:pt idx="57">
                  <c:v>35.827454976831582</c:v>
                </c:pt>
                <c:pt idx="58">
                  <c:v>29.635208021727838</c:v>
                </c:pt>
                <c:pt idx="59">
                  <c:v>78.236698227248468</c:v>
                </c:pt>
                <c:pt idx="60">
                  <c:v>58.603397322661934</c:v>
                </c:pt>
                <c:pt idx="61">
                  <c:v>40.307140409923619</c:v>
                </c:pt>
                <c:pt idx="62">
                  <c:v>24.501225061253063</c:v>
                </c:pt>
                <c:pt idx="63">
                  <c:v>47.008575707311174</c:v>
                </c:pt>
                <c:pt idx="64">
                  <c:v>51.304978781726632</c:v>
                </c:pt>
                <c:pt idx="65">
                  <c:v>39.407055176445091</c:v>
                </c:pt>
                <c:pt idx="66">
                  <c:v>19.711036209173518</c:v>
                </c:pt>
                <c:pt idx="67">
                  <c:v>31.74619971534241</c:v>
                </c:pt>
                <c:pt idx="68">
                  <c:v>32.517757018028774</c:v>
                </c:pt>
                <c:pt idx="69">
                  <c:v>22.22723216979065</c:v>
                </c:pt>
                <c:pt idx="70">
                  <c:v>54.006830275593671</c:v>
                </c:pt>
                <c:pt idx="71">
                  <c:v>48.520498044250694</c:v>
                </c:pt>
                <c:pt idx="72">
                  <c:v>15.875787835971359</c:v>
                </c:pt>
                <c:pt idx="73">
                  <c:v>67.132116004296464</c:v>
                </c:pt>
                <c:pt idx="74">
                  <c:v>60.323766271258741</c:v>
                </c:pt>
                <c:pt idx="75">
                  <c:v>74.827895839568981</c:v>
                </c:pt>
                <c:pt idx="76">
                  <c:v>26.494901203457292</c:v>
                </c:pt>
                <c:pt idx="77">
                  <c:v>62.933982252617</c:v>
                </c:pt>
                <c:pt idx="78">
                  <c:v>12.288899744083663</c:v>
                </c:pt>
                <c:pt idx="79">
                  <c:v>151.74967373820147</c:v>
                </c:pt>
                <c:pt idx="80">
                  <c:v>53.973822695992446</c:v>
                </c:pt>
                <c:pt idx="81">
                  <c:v>36.220182489352773</c:v>
                </c:pt>
                <c:pt idx="82">
                  <c:v>7.297192769941403</c:v>
                </c:pt>
                <c:pt idx="83">
                  <c:v>64.882524464528345</c:v>
                </c:pt>
                <c:pt idx="84">
                  <c:v>92.661230541141578</c:v>
                </c:pt>
                <c:pt idx="85">
                  <c:v>86.717107117306568</c:v>
                </c:pt>
                <c:pt idx="86">
                  <c:v>107.39820184724907</c:v>
                </c:pt>
                <c:pt idx="87">
                  <c:v>108.10956904823038</c:v>
                </c:pt>
                <c:pt idx="88">
                  <c:v>31.409871337314534</c:v>
                </c:pt>
                <c:pt idx="89">
                  <c:v>13.68920708690251</c:v>
                </c:pt>
                <c:pt idx="90">
                  <c:v>38.205404007452991</c:v>
                </c:pt>
                <c:pt idx="91">
                  <c:v>68.051069710468866</c:v>
                </c:pt>
                <c:pt idx="92">
                  <c:v>30.748244554765417</c:v>
                </c:pt>
                <c:pt idx="93">
                  <c:v>25.667927603610195</c:v>
                </c:pt>
                <c:pt idx="94">
                  <c:v>84.596312902239205</c:v>
                </c:pt>
                <c:pt idx="95">
                  <c:v>56.703654550535781</c:v>
                </c:pt>
                <c:pt idx="96">
                  <c:v>95.66265521265808</c:v>
                </c:pt>
                <c:pt idx="97">
                  <c:v>64.201652451762328</c:v>
                </c:pt>
                <c:pt idx="98">
                  <c:v>84.880810912934194</c:v>
                </c:pt>
                <c:pt idx="99">
                  <c:v>47.380504214711216</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203.38090851448192</c:v>
                </c:pt>
                <c:pt idx="301">
                  <c:v>152.89433278851268</c:v>
                </c:pt>
                <c:pt idx="302">
                  <c:v>215.19150778360341</c:v>
                </c:pt>
                <c:pt idx="303">
                  <c:v>306.9328043319527</c:v>
                </c:pt>
                <c:pt idx="304">
                  <c:v>136.06128902709594</c:v>
                </c:pt>
                <c:pt idx="305">
                  <c:v>136.78453481221123</c:v>
                </c:pt>
                <c:pt idx="306">
                  <c:v>177.38529284154458</c:v>
                </c:pt>
                <c:pt idx="307">
                  <c:v>126.66768669688297</c:v>
                </c:pt>
                <c:pt idx="308">
                  <c:v>126.66768669688297</c:v>
                </c:pt>
                <c:pt idx="309">
                  <c:v>126.66768669688297</c:v>
                </c:pt>
                <c:pt idx="310">
                  <c:v>180.41014051268175</c:v>
                </c:pt>
                <c:pt idx="311">
                  <c:v>29.093742568446192</c:v>
                </c:pt>
                <c:pt idx="312">
                  <c:v>340.79014629634139</c:v>
                </c:pt>
                <c:pt idx="313">
                  <c:v>211.76750547702815</c:v>
                </c:pt>
                <c:pt idx="314">
                  <c:v>152.9422736174578</c:v>
                </c:pt>
                <c:pt idx="315">
                  <c:v>238.46558237088988</c:v>
                </c:pt>
                <c:pt idx="316">
                  <c:v>121.78218816226912</c:v>
                </c:pt>
                <c:pt idx="317">
                  <c:v>130.5906975507888</c:v>
                </c:pt>
                <c:pt idx="318">
                  <c:v>166.4880883718773</c:v>
                </c:pt>
                <c:pt idx="319">
                  <c:v>184.4971421149927</c:v>
                </c:pt>
                <c:pt idx="320">
                  <c:v>278.46023809582482</c:v>
                </c:pt>
                <c:pt idx="321">
                  <c:v>288.45271342222918</c:v>
                </c:pt>
                <c:pt idx="322">
                  <c:v>121.07861517310336</c:v>
                </c:pt>
                <c:pt idx="323">
                  <c:v>326.35288603275359</c:v>
                </c:pt>
                <c:pt idx="324">
                  <c:v>196.32722250829903</c:v>
                </c:pt>
                <c:pt idx="325">
                  <c:v>107.4735359987494</c:v>
                </c:pt>
                <c:pt idx="326">
                  <c:v>43.245680018661162</c:v>
                </c:pt>
                <c:pt idx="327">
                  <c:v>329.8535677644345</c:v>
                </c:pt>
                <c:pt idx="328">
                  <c:v>51.993644296921147</c:v>
                </c:pt>
                <c:pt idx="329">
                  <c:v>180.12905717154996</c:v>
                </c:pt>
                <c:pt idx="330">
                  <c:v>181.04979719992517</c:v>
                </c:pt>
                <c:pt idx="331">
                  <c:v>211.06331539694895</c:v>
                </c:pt>
                <c:pt idx="332">
                  <c:v>157.0777820617173</c:v>
                </c:pt>
                <c:pt idx="333">
                  <c:v>275.20399174388024</c:v>
                </c:pt>
                <c:pt idx="334">
                  <c:v>250.45680607117168</c:v>
                </c:pt>
                <c:pt idx="335">
                  <c:v>59.506171640087246</c:v>
                </c:pt>
                <c:pt idx="336">
                  <c:v>139.57221117275549</c:v>
                </c:pt>
                <c:pt idx="337">
                  <c:v>232.23917473626869</c:v>
                </c:pt>
                <c:pt idx="338">
                  <c:v>207.76558501594599</c:v>
                </c:pt>
                <c:pt idx="339">
                  <c:v>252.6270582526418</c:v>
                </c:pt>
                <c:pt idx="340">
                  <c:v>282.80664167113014</c:v>
                </c:pt>
                <c:pt idx="341">
                  <c:v>56.112702960840494</c:v>
                </c:pt>
                <c:pt idx="342">
                  <c:v>214.40019495187127</c:v>
                </c:pt>
                <c:pt idx="343">
                  <c:v>245.65560619359198</c:v>
                </c:pt>
                <c:pt idx="344">
                  <c:v>91.778760383258046</c:v>
                </c:pt>
                <c:pt idx="345">
                  <c:v>306.46530117970531</c:v>
                </c:pt>
                <c:pt idx="346">
                  <c:v>99.304649203598544</c:v>
                </c:pt>
                <c:pt idx="347">
                  <c:v>239.10237712829283</c:v>
                </c:pt>
                <c:pt idx="348">
                  <c:v>264.76179381410543</c:v>
                </c:pt>
                <c:pt idx="349">
                  <c:v>116.04740249145729</c:v>
                </c:pt>
                <c:pt idx="350">
                  <c:v>279.57557082999296</c:v>
                </c:pt>
                <c:pt idx="351">
                  <c:v>360.56481417656011</c:v>
                </c:pt>
                <c:pt idx="352">
                  <c:v>328.6888363752513</c:v>
                </c:pt>
                <c:pt idx="353">
                  <c:v>2.6118730525221552</c:v>
                </c:pt>
                <c:pt idx="354">
                  <c:v>331.67795199018053</c:v>
                </c:pt>
                <c:pt idx="355">
                  <c:v>331.67795199018053</c:v>
                </c:pt>
                <c:pt idx="356">
                  <c:v>331.67795199018053</c:v>
                </c:pt>
                <c:pt idx="357">
                  <c:v>362.49497116803002</c:v>
                </c:pt>
                <c:pt idx="358">
                  <c:v>83.154847393036135</c:v>
                </c:pt>
                <c:pt idx="359">
                  <c:v>106.97800644795858</c:v>
                </c:pt>
                <c:pt idx="360">
                  <c:v>72.25831314688395</c:v>
                </c:pt>
                <c:pt idx="361">
                  <c:v>155.39170363694282</c:v>
                </c:pt>
                <c:pt idx="362">
                  <c:v>172.79970310923494</c:v>
                </c:pt>
                <c:pt idx="363">
                  <c:v>253.84510241673556</c:v>
                </c:pt>
                <c:pt idx="364">
                  <c:v>344.91611287379794</c:v>
                </c:pt>
                <c:pt idx="365">
                  <c:v>299.86969298795611</c:v>
                </c:pt>
                <c:pt idx="366">
                  <c:v>262.08033806044318</c:v>
                </c:pt>
                <c:pt idx="367">
                  <c:v>261.15983456711569</c:v>
                </c:pt>
                <c:pt idx="368">
                  <c:v>167.46111803371639</c:v>
                </c:pt>
                <c:pt idx="369">
                  <c:v>279.46577237619505</c:v>
                </c:pt>
                <c:pt idx="370">
                  <c:v>216.51294247750764</c:v>
                </c:pt>
                <c:pt idx="371">
                  <c:v>273.30873554713406</c:v>
                </c:pt>
                <c:pt idx="372">
                  <c:v>277.46822650430636</c:v>
                </c:pt>
                <c:pt idx="373">
                  <c:v>425.71781096891641</c:v>
                </c:pt>
                <c:pt idx="374">
                  <c:v>261.01783840503674</c:v>
                </c:pt>
                <c:pt idx="375">
                  <c:v>82.957299190757382</c:v>
                </c:pt>
                <c:pt idx="376">
                  <c:v>424.75314500862612</c:v>
                </c:pt>
                <c:pt idx="377">
                  <c:v>329.64391589501759</c:v>
                </c:pt>
                <c:pt idx="378">
                  <c:v>329.64391589501759</c:v>
                </c:pt>
                <c:pt idx="379">
                  <c:v>329.64391589501759</c:v>
                </c:pt>
                <c:pt idx="380">
                  <c:v>329.64391589501759</c:v>
                </c:pt>
                <c:pt idx="381">
                  <c:v>329.64391589501759</c:v>
                </c:pt>
                <c:pt idx="382">
                  <c:v>329.64391589501759</c:v>
                </c:pt>
                <c:pt idx="383">
                  <c:v>329.64391589501759</c:v>
                </c:pt>
                <c:pt idx="384">
                  <c:v>329.64391589501759</c:v>
                </c:pt>
                <c:pt idx="385">
                  <c:v>329.64391589501759</c:v>
                </c:pt>
                <c:pt idx="386">
                  <c:v>279.39415583051488</c:v>
                </c:pt>
                <c:pt idx="387">
                  <c:v>178.24252866734003</c:v>
                </c:pt>
                <c:pt idx="388">
                  <c:v>148.81563282564966</c:v>
                </c:pt>
                <c:pt idx="389">
                  <c:v>175.58403918857948</c:v>
                </c:pt>
                <c:pt idx="390">
                  <c:v>299.0613796458104</c:v>
                </c:pt>
                <c:pt idx="391">
                  <c:v>113.80230263985405</c:v>
                </c:pt>
                <c:pt idx="392">
                  <c:v>112.98429999014392</c:v>
                </c:pt>
                <c:pt idx="393">
                  <c:v>317.17102382333098</c:v>
                </c:pt>
                <c:pt idx="394">
                  <c:v>317.17102382333098</c:v>
                </c:pt>
                <c:pt idx="395">
                  <c:v>263.43693716533039</c:v>
                </c:pt>
                <c:pt idx="396">
                  <c:v>302.3609969063308</c:v>
                </c:pt>
                <c:pt idx="397">
                  <c:v>364.04926800093608</c:v>
                </c:pt>
                <c:pt idx="398">
                  <c:v>364.04926800093608</c:v>
                </c:pt>
                <c:pt idx="399">
                  <c:v>176.61068283752738</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96.62359686269096</c:v>
                </c:pt>
                <c:pt idx="501">
                  <c:v>83.302095047690443</c:v>
                </c:pt>
                <c:pt idx="502">
                  <c:v>50.22398914374007</c:v>
                </c:pt>
                <c:pt idx="503">
                  <c:v>5.9840166914172244</c:v>
                </c:pt>
                <c:pt idx="504">
                  <c:v>9.1693300174319159</c:v>
                </c:pt>
                <c:pt idx="505">
                  <c:v>66.612984438031319</c:v>
                </c:pt>
                <c:pt idx="506">
                  <c:v>67.807291677053811</c:v>
                </c:pt>
                <c:pt idx="507">
                  <c:v>188.95218900095085</c:v>
                </c:pt>
                <c:pt idx="508">
                  <c:v>145.90953608762567</c:v>
                </c:pt>
                <c:pt idx="509">
                  <c:v>14.058215068599068</c:v>
                </c:pt>
                <c:pt idx="510">
                  <c:v>36.498718489439703</c:v>
                </c:pt>
                <c:pt idx="511">
                  <c:v>18.658566884579088</c:v>
                </c:pt>
                <c:pt idx="512">
                  <c:v>19.06478212967664</c:v>
                </c:pt>
                <c:pt idx="513">
                  <c:v>148.28937612541046</c:v>
                </c:pt>
                <c:pt idx="514">
                  <c:v>78.026849137556397</c:v>
                </c:pt>
                <c:pt idx="515">
                  <c:v>20.548427751728024</c:v>
                </c:pt>
                <c:pt idx="516">
                  <c:v>72.121131886827129</c:v>
                </c:pt>
                <c:pt idx="517">
                  <c:v>32.748834857859826</c:v>
                </c:pt>
                <c:pt idx="518">
                  <c:v>17.33360251398414</c:v>
                </c:pt>
                <c:pt idx="519">
                  <c:v>3.9154881047471375</c:v>
                </c:pt>
                <c:pt idx="520">
                  <c:v>5.8835354164317337</c:v>
                </c:pt>
                <c:pt idx="521">
                  <c:v>16.771356102257919</c:v>
                </c:pt>
                <c:pt idx="522">
                  <c:v>14.840362223561154</c:v>
                </c:pt>
                <c:pt idx="523">
                  <c:v>69.463739927757715</c:v>
                </c:pt>
                <c:pt idx="524">
                  <c:v>176.34127130300524</c:v>
                </c:pt>
                <c:pt idx="525">
                  <c:v>141.78679721854814</c:v>
                </c:pt>
                <c:pt idx="526">
                  <c:v>88.307671778045545</c:v>
                </c:pt>
                <c:pt idx="527">
                  <c:v>4.0502268633321821</c:v>
                </c:pt>
                <c:pt idx="528">
                  <c:v>66.631130063965898</c:v>
                </c:pt>
                <c:pt idx="529">
                  <c:v>19.698165017437802</c:v>
                </c:pt>
                <c:pt idx="530">
                  <c:v>176.23526232618795</c:v>
                </c:pt>
                <c:pt idx="531">
                  <c:v>138.60163726870238</c:v>
                </c:pt>
                <c:pt idx="532">
                  <c:v>16.04703385623262</c:v>
                </c:pt>
                <c:pt idx="533">
                  <c:v>92.5339067118922</c:v>
                </c:pt>
                <c:pt idx="534">
                  <c:v>42.190278154476694</c:v>
                </c:pt>
                <c:pt idx="535">
                  <c:v>108.66794427670311</c:v>
                </c:pt>
                <c:pt idx="536">
                  <c:v>6.9535710063903311</c:v>
                </c:pt>
                <c:pt idx="537">
                  <c:v>84.644909565983227</c:v>
                </c:pt>
                <c:pt idx="538">
                  <c:v>17.834707926933181</c:v>
                </c:pt>
                <c:pt idx="539">
                  <c:v>27.203564271443209</c:v>
                </c:pt>
                <c:pt idx="540">
                  <c:v>18.846327049240493</c:v>
                </c:pt>
                <c:pt idx="541">
                  <c:v>15.384362923275106</c:v>
                </c:pt>
                <c:pt idx="542">
                  <c:v>59.009114873450883</c:v>
                </c:pt>
                <c:pt idx="543">
                  <c:v>7.8994323270443978</c:v>
                </c:pt>
                <c:pt idx="544">
                  <c:v>20.129898233299482</c:v>
                </c:pt>
                <c:pt idx="545">
                  <c:v>5.9148731456872694</c:v>
                </c:pt>
                <c:pt idx="546">
                  <c:v>10.06885080178259</c:v>
                </c:pt>
                <c:pt idx="547">
                  <c:v>20.941844497829528</c:v>
                </c:pt>
                <c:pt idx="548">
                  <c:v>14.255152983247141</c:v>
                </c:pt>
                <c:pt idx="549">
                  <c:v>5.9091119491107271</c:v>
                </c:pt>
                <c:pt idx="550">
                  <c:v>7.9142491108835769</c:v>
                </c:pt>
                <c:pt idx="551">
                  <c:v>37.653064662202468</c:v>
                </c:pt>
                <c:pt idx="552">
                  <c:v>18.150394166059971</c:v>
                </c:pt>
                <c:pt idx="553">
                  <c:v>15.131278976399241</c:v>
                </c:pt>
                <c:pt idx="554">
                  <c:v>34.226752233547252</c:v>
                </c:pt>
                <c:pt idx="555">
                  <c:v>197.09372665829105</c:v>
                </c:pt>
                <c:pt idx="556">
                  <c:v>52.851329210929656</c:v>
                </c:pt>
                <c:pt idx="557">
                  <c:v>128.01318535809187</c:v>
                </c:pt>
                <c:pt idx="558">
                  <c:v>8.1157220811551927</c:v>
                </c:pt>
                <c:pt idx="559">
                  <c:v>11.080912825451447</c:v>
                </c:pt>
                <c:pt idx="560">
                  <c:v>14.213241258602817</c:v>
                </c:pt>
                <c:pt idx="561">
                  <c:v>14.136644808721098</c:v>
                </c:pt>
                <c:pt idx="562">
                  <c:v>14.719938451030691</c:v>
                </c:pt>
                <c:pt idx="563">
                  <c:v>72.29118890892515</c:v>
                </c:pt>
                <c:pt idx="564">
                  <c:v>9.9802391265294705</c:v>
                </c:pt>
                <c:pt idx="565">
                  <c:v>10.228755896877775</c:v>
                </c:pt>
                <c:pt idx="566">
                  <c:v>12.083910675732284</c:v>
                </c:pt>
                <c:pt idx="567">
                  <c:v>35.789809516408091</c:v>
                </c:pt>
                <c:pt idx="568">
                  <c:v>10.801437180314283</c:v>
                </c:pt>
                <c:pt idx="569">
                  <c:v>57.211744753887331</c:v>
                </c:pt>
                <c:pt idx="570">
                  <c:v>283.42761100254091</c:v>
                </c:pt>
                <c:pt idx="571">
                  <c:v>70.961680692426086</c:v>
                </c:pt>
                <c:pt idx="572">
                  <c:v>7.8879827568696941</c:v>
                </c:pt>
                <c:pt idx="573">
                  <c:v>8.9350156313134566</c:v>
                </c:pt>
                <c:pt idx="574">
                  <c:v>14.069291259452804</c:v>
                </c:pt>
                <c:pt idx="575">
                  <c:v>4.0168587561997704</c:v>
                </c:pt>
                <c:pt idx="576">
                  <c:v>37.659259024347705</c:v>
                </c:pt>
                <c:pt idx="577">
                  <c:v>52.073684263232479</c:v>
                </c:pt>
                <c:pt idx="578">
                  <c:v>166.91984489294413</c:v>
                </c:pt>
                <c:pt idx="579">
                  <c:v>54.856362677762554</c:v>
                </c:pt>
                <c:pt idx="580">
                  <c:v>88.225093650429869</c:v>
                </c:pt>
                <c:pt idx="581">
                  <c:v>175.62696831928983</c:v>
                </c:pt>
                <c:pt idx="582">
                  <c:v>148.48103897132336</c:v>
                </c:pt>
                <c:pt idx="583">
                  <c:v>149.45106623372354</c:v>
                </c:pt>
                <c:pt idx="584">
                  <c:v>77.990722065747164</c:v>
                </c:pt>
                <c:pt idx="585">
                  <c:v>21.997030400895881</c:v>
                </c:pt>
                <c:pt idx="586">
                  <c:v>43.989430806091661</c:v>
                </c:pt>
                <c:pt idx="587">
                  <c:v>14.246695784199193</c:v>
                </c:pt>
                <c:pt idx="588">
                  <c:v>10.077668591837289</c:v>
                </c:pt>
                <c:pt idx="589">
                  <c:v>13.189787857481297</c:v>
                </c:pt>
                <c:pt idx="590">
                  <c:v>115.93548651865228</c:v>
                </c:pt>
                <c:pt idx="591">
                  <c:v>45.963972069552291</c:v>
                </c:pt>
                <c:pt idx="592">
                  <c:v>83.68784434060953</c:v>
                </c:pt>
                <c:pt idx="593">
                  <c:v>10.008206729518205</c:v>
                </c:pt>
                <c:pt idx="594">
                  <c:v>14.316655792825719</c:v>
                </c:pt>
                <c:pt idx="595">
                  <c:v>139.81498152732277</c:v>
                </c:pt>
                <c:pt idx="596">
                  <c:v>8.980754243655845</c:v>
                </c:pt>
                <c:pt idx="597">
                  <c:v>13.183019864782779</c:v>
                </c:pt>
                <c:pt idx="598">
                  <c:v>145.91420636381798</c:v>
                </c:pt>
                <c:pt idx="599">
                  <c:v>147.44333261249926</c:v>
                </c:pt>
                <c:pt idx="600">
                  <c:v>0</c:v>
                </c:pt>
                <c:pt idx="601">
                  <c:v>0</c:v>
                </c:pt>
                <c:pt idx="602">
                  <c:v>0</c:v>
                </c:pt>
                <c:pt idx="603">
                  <c:v>3.7810185307718189</c:v>
                </c:pt>
                <c:pt idx="604">
                  <c:v>0</c:v>
                </c:pt>
                <c:pt idx="605">
                  <c:v>3.7810185307718189</c:v>
                </c:pt>
                <c:pt idx="606">
                  <c:v>3.7810185307718189</c:v>
                </c:pt>
                <c:pt idx="607">
                  <c:v>3.7810185307718189</c:v>
                </c:pt>
                <c:pt idx="608">
                  <c:v>3.7810185307718189</c:v>
                </c:pt>
                <c:pt idx="609">
                  <c:v>3.7810185307718189</c:v>
                </c:pt>
                <c:pt idx="610">
                  <c:v>3.7810185307718189</c:v>
                </c:pt>
                <c:pt idx="611">
                  <c:v>0</c:v>
                </c:pt>
                <c:pt idx="612">
                  <c:v>3.7810185307718189</c:v>
                </c:pt>
                <c:pt idx="613">
                  <c:v>3.7810185307718189</c:v>
                </c:pt>
                <c:pt idx="614">
                  <c:v>0</c:v>
                </c:pt>
                <c:pt idx="615">
                  <c:v>3.7810185307718189</c:v>
                </c:pt>
                <c:pt idx="616">
                  <c:v>3.7810185307718189</c:v>
                </c:pt>
                <c:pt idx="617">
                  <c:v>3.7810185307718189</c:v>
                </c:pt>
                <c:pt idx="618">
                  <c:v>3.7810185307718189</c:v>
                </c:pt>
                <c:pt idx="619">
                  <c:v>3.7810185307718189</c:v>
                </c:pt>
                <c:pt idx="620">
                  <c:v>0</c:v>
                </c:pt>
                <c:pt idx="621">
                  <c:v>0</c:v>
                </c:pt>
                <c:pt idx="622">
                  <c:v>3.7810185307718189</c:v>
                </c:pt>
                <c:pt idx="623">
                  <c:v>3.7810185307718189</c:v>
                </c:pt>
                <c:pt idx="624">
                  <c:v>3.7810185307718189</c:v>
                </c:pt>
                <c:pt idx="625">
                  <c:v>0</c:v>
                </c:pt>
                <c:pt idx="626">
                  <c:v>3.7810185307718189</c:v>
                </c:pt>
                <c:pt idx="627">
                  <c:v>3.7810185307718189</c:v>
                </c:pt>
                <c:pt idx="628">
                  <c:v>3.7810185307718189</c:v>
                </c:pt>
                <c:pt idx="629">
                  <c:v>3.7810185307718189</c:v>
                </c:pt>
                <c:pt idx="630">
                  <c:v>3.7810185307718189</c:v>
                </c:pt>
                <c:pt idx="631">
                  <c:v>3.7810185307718189</c:v>
                </c:pt>
                <c:pt idx="632">
                  <c:v>3.7810185307718189</c:v>
                </c:pt>
                <c:pt idx="633">
                  <c:v>3.7810185307718189</c:v>
                </c:pt>
                <c:pt idx="634">
                  <c:v>3.7810185307718189</c:v>
                </c:pt>
                <c:pt idx="635">
                  <c:v>3.7810185307718189</c:v>
                </c:pt>
                <c:pt idx="636">
                  <c:v>0</c:v>
                </c:pt>
                <c:pt idx="637">
                  <c:v>3.7810185307718189</c:v>
                </c:pt>
                <c:pt idx="638">
                  <c:v>3.7810185307718189</c:v>
                </c:pt>
                <c:pt idx="639">
                  <c:v>3.7810185307718189</c:v>
                </c:pt>
                <c:pt idx="640">
                  <c:v>3.7810185307718189</c:v>
                </c:pt>
                <c:pt idx="641">
                  <c:v>3.7810185307718189</c:v>
                </c:pt>
                <c:pt idx="642">
                  <c:v>3.7810185307718189</c:v>
                </c:pt>
                <c:pt idx="643">
                  <c:v>3.7810185307718189</c:v>
                </c:pt>
                <c:pt idx="644">
                  <c:v>3.7810185307718189</c:v>
                </c:pt>
                <c:pt idx="645">
                  <c:v>3.7810185307718189</c:v>
                </c:pt>
                <c:pt idx="646">
                  <c:v>0</c:v>
                </c:pt>
                <c:pt idx="647">
                  <c:v>3.7810185307718189</c:v>
                </c:pt>
                <c:pt idx="648">
                  <c:v>3.7810185307718189</c:v>
                </c:pt>
                <c:pt idx="649">
                  <c:v>3.7810185307718189</c:v>
                </c:pt>
                <c:pt idx="650">
                  <c:v>3.7810185307718189</c:v>
                </c:pt>
                <c:pt idx="651">
                  <c:v>3.7810185307718189</c:v>
                </c:pt>
                <c:pt idx="652">
                  <c:v>3.7810185307718189</c:v>
                </c:pt>
                <c:pt idx="653">
                  <c:v>3.7810185307718189</c:v>
                </c:pt>
                <c:pt idx="654">
                  <c:v>3.7810185307718189</c:v>
                </c:pt>
                <c:pt idx="655">
                  <c:v>0</c:v>
                </c:pt>
                <c:pt idx="656">
                  <c:v>3.7810185307718189</c:v>
                </c:pt>
                <c:pt idx="657">
                  <c:v>3.7810185307718189</c:v>
                </c:pt>
                <c:pt idx="658">
                  <c:v>3.7810185307718189</c:v>
                </c:pt>
                <c:pt idx="659">
                  <c:v>3.7810185307718189</c:v>
                </c:pt>
                <c:pt idx="660">
                  <c:v>0</c:v>
                </c:pt>
                <c:pt idx="661">
                  <c:v>3.7810185307718189</c:v>
                </c:pt>
                <c:pt idx="662">
                  <c:v>0</c:v>
                </c:pt>
                <c:pt idx="663">
                  <c:v>3.7810185307718189</c:v>
                </c:pt>
                <c:pt idx="664">
                  <c:v>3.7810185307718189</c:v>
                </c:pt>
                <c:pt idx="665">
                  <c:v>0</c:v>
                </c:pt>
                <c:pt idx="666">
                  <c:v>3.7810185307718189</c:v>
                </c:pt>
                <c:pt idx="667">
                  <c:v>3.7810185307718189</c:v>
                </c:pt>
                <c:pt idx="668">
                  <c:v>3.7810185307718189</c:v>
                </c:pt>
                <c:pt idx="669">
                  <c:v>0</c:v>
                </c:pt>
                <c:pt idx="670">
                  <c:v>3.7810185307718189</c:v>
                </c:pt>
                <c:pt idx="671">
                  <c:v>3.7810185307718189</c:v>
                </c:pt>
                <c:pt idx="672">
                  <c:v>3.7810185307718189</c:v>
                </c:pt>
                <c:pt idx="673">
                  <c:v>3.7810185307718189</c:v>
                </c:pt>
                <c:pt idx="674">
                  <c:v>0</c:v>
                </c:pt>
                <c:pt idx="675">
                  <c:v>3.7810185307718189</c:v>
                </c:pt>
                <c:pt idx="676">
                  <c:v>3.7810185307718189</c:v>
                </c:pt>
                <c:pt idx="677">
                  <c:v>3.7810185307718189</c:v>
                </c:pt>
                <c:pt idx="678">
                  <c:v>3.7810185307718189</c:v>
                </c:pt>
                <c:pt idx="679">
                  <c:v>3.7810185307718189</c:v>
                </c:pt>
                <c:pt idx="680">
                  <c:v>3.7810185307718189</c:v>
                </c:pt>
                <c:pt idx="681">
                  <c:v>0</c:v>
                </c:pt>
                <c:pt idx="682">
                  <c:v>3.7810185307718189</c:v>
                </c:pt>
                <c:pt idx="683">
                  <c:v>3.7810185307718189</c:v>
                </c:pt>
                <c:pt idx="684">
                  <c:v>3.7810185307718189</c:v>
                </c:pt>
                <c:pt idx="685">
                  <c:v>3.7810185307718189</c:v>
                </c:pt>
                <c:pt idx="686">
                  <c:v>3.7810185307718189</c:v>
                </c:pt>
                <c:pt idx="687">
                  <c:v>3.7810185307718189</c:v>
                </c:pt>
                <c:pt idx="688">
                  <c:v>3.7810185307718189</c:v>
                </c:pt>
                <c:pt idx="689">
                  <c:v>3.7810185307718189</c:v>
                </c:pt>
                <c:pt idx="690">
                  <c:v>0</c:v>
                </c:pt>
                <c:pt idx="691">
                  <c:v>3.7810185307718189</c:v>
                </c:pt>
                <c:pt idx="692">
                  <c:v>3.7810185307718189</c:v>
                </c:pt>
                <c:pt idx="693">
                  <c:v>0</c:v>
                </c:pt>
                <c:pt idx="694">
                  <c:v>3.7810185307718189</c:v>
                </c:pt>
                <c:pt idx="695">
                  <c:v>3.7810185307718189</c:v>
                </c:pt>
                <c:pt idx="696">
                  <c:v>0</c:v>
                </c:pt>
                <c:pt idx="697">
                  <c:v>3.7810185307718189</c:v>
                </c:pt>
                <c:pt idx="698">
                  <c:v>3.7810185307718189</c:v>
                </c:pt>
                <c:pt idx="699">
                  <c:v>3.7810185307718189</c:v>
                </c:pt>
                <c:pt idx="700">
                  <c:v>3.7810185307718189</c:v>
                </c:pt>
                <c:pt idx="701">
                  <c:v>3.7810185307718189</c:v>
                </c:pt>
                <c:pt idx="702">
                  <c:v>3.7810185307718189</c:v>
                </c:pt>
                <c:pt idx="703">
                  <c:v>3.7810185307718189</c:v>
                </c:pt>
                <c:pt idx="704">
                  <c:v>0</c:v>
                </c:pt>
                <c:pt idx="705">
                  <c:v>3.7810185307718189</c:v>
                </c:pt>
                <c:pt idx="706">
                  <c:v>0</c:v>
                </c:pt>
                <c:pt idx="707">
                  <c:v>0</c:v>
                </c:pt>
                <c:pt idx="708">
                  <c:v>3.7810185307718189</c:v>
                </c:pt>
                <c:pt idx="709">
                  <c:v>3.7810185307718189</c:v>
                </c:pt>
                <c:pt idx="710">
                  <c:v>3.7810185307718189</c:v>
                </c:pt>
                <c:pt idx="711">
                  <c:v>0</c:v>
                </c:pt>
                <c:pt idx="712">
                  <c:v>3.7810185307718189</c:v>
                </c:pt>
                <c:pt idx="713">
                  <c:v>3.7810185307718189</c:v>
                </c:pt>
                <c:pt idx="714">
                  <c:v>0</c:v>
                </c:pt>
                <c:pt idx="715">
                  <c:v>0</c:v>
                </c:pt>
                <c:pt idx="716">
                  <c:v>0</c:v>
                </c:pt>
                <c:pt idx="717">
                  <c:v>0</c:v>
                </c:pt>
                <c:pt idx="718">
                  <c:v>0</c:v>
                </c:pt>
                <c:pt idx="719">
                  <c:v>0</c:v>
                </c:pt>
                <c:pt idx="720">
                  <c:v>0</c:v>
                </c:pt>
                <c:pt idx="721">
                  <c:v>0</c:v>
                </c:pt>
                <c:pt idx="722">
                  <c:v>0</c:v>
                </c:pt>
                <c:pt idx="723">
                  <c:v>0</c:v>
                </c:pt>
                <c:pt idx="724">
                  <c:v>0</c:v>
                </c:pt>
                <c:pt idx="725">
                  <c:v>0</c:v>
                </c:pt>
                <c:pt idx="726">
                  <c:v>0</c:v>
                </c:pt>
                <c:pt idx="727">
                  <c:v>3.2788175272469737</c:v>
                </c:pt>
                <c:pt idx="728">
                  <c:v>0</c:v>
                </c:pt>
                <c:pt idx="729">
                  <c:v>0</c:v>
                </c:pt>
                <c:pt idx="730">
                  <c:v>0</c:v>
                </c:pt>
                <c:pt idx="731">
                  <c:v>0</c:v>
                </c:pt>
                <c:pt idx="732">
                  <c:v>0</c:v>
                </c:pt>
                <c:pt idx="733">
                  <c:v>0</c:v>
                </c:pt>
                <c:pt idx="734">
                  <c:v>0</c:v>
                </c:pt>
                <c:pt idx="735">
                  <c:v>0</c:v>
                </c:pt>
                <c:pt idx="736">
                  <c:v>0</c:v>
                </c:pt>
                <c:pt idx="737">
                  <c:v>0</c:v>
                </c:pt>
                <c:pt idx="738">
                  <c:v>0</c:v>
                </c:pt>
                <c:pt idx="739">
                  <c:v>0</c:v>
                </c:pt>
                <c:pt idx="740">
                  <c:v>0</c:v>
                </c:pt>
                <c:pt idx="741">
                  <c:v>1.1076012458298814</c:v>
                </c:pt>
                <c:pt idx="742">
                  <c:v>0</c:v>
                </c:pt>
                <c:pt idx="743">
                  <c:v>4.9446447025548981</c:v>
                </c:pt>
                <c:pt idx="744">
                  <c:v>0</c:v>
                </c:pt>
                <c:pt idx="745">
                  <c:v>0</c:v>
                </c:pt>
                <c:pt idx="746">
                  <c:v>3.0647583438045909</c:v>
                </c:pt>
                <c:pt idx="747">
                  <c:v>0</c:v>
                </c:pt>
                <c:pt idx="748">
                  <c:v>0</c:v>
                </c:pt>
                <c:pt idx="749">
                  <c:v>0</c:v>
                </c:pt>
                <c:pt idx="750">
                  <c:v>0</c:v>
                </c:pt>
                <c:pt idx="751">
                  <c:v>0</c:v>
                </c:pt>
                <c:pt idx="752">
                  <c:v>2.287421355594518</c:v>
                </c:pt>
                <c:pt idx="753">
                  <c:v>0</c:v>
                </c:pt>
                <c:pt idx="754">
                  <c:v>0</c:v>
                </c:pt>
                <c:pt idx="755">
                  <c:v>0</c:v>
                </c:pt>
                <c:pt idx="756">
                  <c:v>0</c:v>
                </c:pt>
                <c:pt idx="757">
                  <c:v>0</c:v>
                </c:pt>
                <c:pt idx="758">
                  <c:v>0</c:v>
                </c:pt>
                <c:pt idx="759">
                  <c:v>0</c:v>
                </c:pt>
                <c:pt idx="760">
                  <c:v>0</c:v>
                </c:pt>
                <c:pt idx="761">
                  <c:v>0</c:v>
                </c:pt>
                <c:pt idx="762">
                  <c:v>2.9005432717547999</c:v>
                </c:pt>
                <c:pt idx="763">
                  <c:v>0</c:v>
                </c:pt>
                <c:pt idx="764">
                  <c:v>0</c:v>
                </c:pt>
                <c:pt idx="765">
                  <c:v>0</c:v>
                </c:pt>
                <c:pt idx="766">
                  <c:v>0</c:v>
                </c:pt>
                <c:pt idx="767">
                  <c:v>2.0262295414135991</c:v>
                </c:pt>
                <c:pt idx="768">
                  <c:v>0</c:v>
                </c:pt>
                <c:pt idx="769">
                  <c:v>0</c:v>
                </c:pt>
                <c:pt idx="770">
                  <c:v>0</c:v>
                </c:pt>
                <c:pt idx="771">
                  <c:v>0</c:v>
                </c:pt>
                <c:pt idx="772">
                  <c:v>0</c:v>
                </c:pt>
                <c:pt idx="773">
                  <c:v>0</c:v>
                </c:pt>
                <c:pt idx="774">
                  <c:v>0</c:v>
                </c:pt>
                <c:pt idx="775">
                  <c:v>292.42143985548495</c:v>
                </c:pt>
                <c:pt idx="776">
                  <c:v>0</c:v>
                </c:pt>
                <c:pt idx="777">
                  <c:v>0</c:v>
                </c:pt>
                <c:pt idx="778">
                  <c:v>0</c:v>
                </c:pt>
                <c:pt idx="779">
                  <c:v>0</c:v>
                </c:pt>
                <c:pt idx="780">
                  <c:v>0</c:v>
                </c:pt>
                <c:pt idx="781">
                  <c:v>0</c:v>
                </c:pt>
                <c:pt idx="782">
                  <c:v>0</c:v>
                </c:pt>
                <c:pt idx="783">
                  <c:v>2.1797771177897061</c:v>
                </c:pt>
                <c:pt idx="784">
                  <c:v>0</c:v>
                </c:pt>
                <c:pt idx="785">
                  <c:v>0</c:v>
                </c:pt>
                <c:pt idx="786">
                  <c:v>0</c:v>
                </c:pt>
                <c:pt idx="787">
                  <c:v>0</c:v>
                </c:pt>
                <c:pt idx="788">
                  <c:v>1.2760717407532651</c:v>
                </c:pt>
                <c:pt idx="789">
                  <c:v>0</c:v>
                </c:pt>
                <c:pt idx="790">
                  <c:v>0</c:v>
                </c:pt>
                <c:pt idx="791">
                  <c:v>0</c:v>
                </c:pt>
                <c:pt idx="792">
                  <c:v>4.0039185015735397</c:v>
                </c:pt>
                <c:pt idx="793">
                  <c:v>0</c:v>
                </c:pt>
                <c:pt idx="794">
                  <c:v>0</c:v>
                </c:pt>
                <c:pt idx="795">
                  <c:v>0</c:v>
                </c:pt>
                <c:pt idx="796">
                  <c:v>0</c:v>
                </c:pt>
                <c:pt idx="797">
                  <c:v>0</c:v>
                </c:pt>
                <c:pt idx="798">
                  <c:v>0</c:v>
                </c:pt>
                <c:pt idx="799">
                  <c:v>0</c:v>
                </c:pt>
              </c:numCache>
            </c:numRef>
          </c:xVal>
          <c:yVal>
            <c:numRef>
              <c:f>'Schema Schematron vs Syntax Cmp'!$K$2:$K$801</c:f>
              <c:numCache>
                <c:formatCode>General</c:formatCode>
                <c:ptCount val="800"/>
                <c:pt idx="0">
                  <c:v>9.4565289810375095</c:v>
                </c:pt>
                <c:pt idx="1">
                  <c:v>8.3225175282622299</c:v>
                </c:pt>
                <c:pt idx="2">
                  <c:v>7.757664356893935</c:v>
                </c:pt>
                <c:pt idx="3">
                  <c:v>3.8873371934591661</c:v>
                </c:pt>
                <c:pt idx="4">
                  <c:v>9.2870434501659691</c:v>
                </c:pt>
                <c:pt idx="5">
                  <c:v>9.3813150642172332</c:v>
                </c:pt>
                <c:pt idx="6">
                  <c:v>10.522038409448591</c:v>
                </c:pt>
                <c:pt idx="7">
                  <c:v>14.031849179448642</c:v>
                </c:pt>
                <c:pt idx="8">
                  <c:v>9.2825483964569546</c:v>
                </c:pt>
                <c:pt idx="9">
                  <c:v>7.3401652795501953</c:v>
                </c:pt>
                <c:pt idx="10">
                  <c:v>9.7775246485285443</c:v>
                </c:pt>
                <c:pt idx="11">
                  <c:v>9.7775246485285443</c:v>
                </c:pt>
                <c:pt idx="12">
                  <c:v>9.7775246485285443</c:v>
                </c:pt>
                <c:pt idx="13">
                  <c:v>9.7775246485285443</c:v>
                </c:pt>
                <c:pt idx="14">
                  <c:v>9.7775246485285443</c:v>
                </c:pt>
                <c:pt idx="15">
                  <c:v>9.7775246485285443</c:v>
                </c:pt>
                <c:pt idx="16">
                  <c:v>9.7775246485285443</c:v>
                </c:pt>
                <c:pt idx="17">
                  <c:v>9.7775246485285443</c:v>
                </c:pt>
                <c:pt idx="18">
                  <c:v>9.7775246485285443</c:v>
                </c:pt>
                <c:pt idx="19">
                  <c:v>9.7775246485285443</c:v>
                </c:pt>
                <c:pt idx="20">
                  <c:v>9.7775246485285443</c:v>
                </c:pt>
                <c:pt idx="21">
                  <c:v>9.7775246485285443</c:v>
                </c:pt>
                <c:pt idx="22">
                  <c:v>9.7775246485285443</c:v>
                </c:pt>
                <c:pt idx="23">
                  <c:v>9.7775246485285443</c:v>
                </c:pt>
                <c:pt idx="24">
                  <c:v>9.7775246485285443</c:v>
                </c:pt>
                <c:pt idx="25">
                  <c:v>9.7775246485285443</c:v>
                </c:pt>
                <c:pt idx="26">
                  <c:v>9.7775246485285443</c:v>
                </c:pt>
                <c:pt idx="27">
                  <c:v>9.7775246485285443</c:v>
                </c:pt>
                <c:pt idx="28">
                  <c:v>9.7775246485285443</c:v>
                </c:pt>
                <c:pt idx="29">
                  <c:v>9.7775246485285443</c:v>
                </c:pt>
                <c:pt idx="30">
                  <c:v>9.7775246485285443</c:v>
                </c:pt>
                <c:pt idx="31">
                  <c:v>9.7775246485285443</c:v>
                </c:pt>
                <c:pt idx="32">
                  <c:v>9.7775246485285443</c:v>
                </c:pt>
                <c:pt idx="33">
                  <c:v>9.7775246485285443</c:v>
                </c:pt>
                <c:pt idx="34">
                  <c:v>9.7775246485285443</c:v>
                </c:pt>
                <c:pt idx="35">
                  <c:v>9.7775246485285443</c:v>
                </c:pt>
                <c:pt idx="36">
                  <c:v>9.7775246485285443</c:v>
                </c:pt>
                <c:pt idx="37">
                  <c:v>9.7775246485285443</c:v>
                </c:pt>
                <c:pt idx="38">
                  <c:v>9.7775246485285443</c:v>
                </c:pt>
                <c:pt idx="39">
                  <c:v>9.7775246485285443</c:v>
                </c:pt>
                <c:pt idx="40">
                  <c:v>9.7775246485285443</c:v>
                </c:pt>
                <c:pt idx="41">
                  <c:v>9.7775246485285443</c:v>
                </c:pt>
                <c:pt idx="42">
                  <c:v>9.7775246485285443</c:v>
                </c:pt>
                <c:pt idx="43">
                  <c:v>9.7775246485285443</c:v>
                </c:pt>
                <c:pt idx="44">
                  <c:v>9.7775246485285443</c:v>
                </c:pt>
                <c:pt idx="45">
                  <c:v>9.7775246485285443</c:v>
                </c:pt>
                <c:pt idx="46">
                  <c:v>9.7775246485285443</c:v>
                </c:pt>
                <c:pt idx="47">
                  <c:v>9.7775246485285443</c:v>
                </c:pt>
                <c:pt idx="48">
                  <c:v>9.7775246485285443</c:v>
                </c:pt>
                <c:pt idx="49">
                  <c:v>9.7775246485285443</c:v>
                </c:pt>
                <c:pt idx="50">
                  <c:v>9.7775246485285443</c:v>
                </c:pt>
                <c:pt idx="51">
                  <c:v>9.7775246485285443</c:v>
                </c:pt>
                <c:pt idx="52">
                  <c:v>9.7775246485285443</c:v>
                </c:pt>
                <c:pt idx="53">
                  <c:v>9.7775246485285443</c:v>
                </c:pt>
                <c:pt idx="54">
                  <c:v>9.7775246485285443</c:v>
                </c:pt>
                <c:pt idx="55">
                  <c:v>9.7775246485285443</c:v>
                </c:pt>
                <c:pt idx="56">
                  <c:v>9.7775246485285443</c:v>
                </c:pt>
                <c:pt idx="57">
                  <c:v>9.7775246485285443</c:v>
                </c:pt>
                <c:pt idx="58">
                  <c:v>9.7775246485285443</c:v>
                </c:pt>
                <c:pt idx="59">
                  <c:v>9.7775246485285443</c:v>
                </c:pt>
                <c:pt idx="60">
                  <c:v>9.7775246485285443</c:v>
                </c:pt>
                <c:pt idx="61">
                  <c:v>9.7775246485285443</c:v>
                </c:pt>
                <c:pt idx="62">
                  <c:v>9.7775246485285443</c:v>
                </c:pt>
                <c:pt idx="63">
                  <c:v>9.7775246485285443</c:v>
                </c:pt>
                <c:pt idx="64">
                  <c:v>9.7775246485285443</c:v>
                </c:pt>
                <c:pt idx="65">
                  <c:v>9.7775246485285443</c:v>
                </c:pt>
                <c:pt idx="66">
                  <c:v>9.7775246485285443</c:v>
                </c:pt>
                <c:pt idx="67">
                  <c:v>9.7775246485285443</c:v>
                </c:pt>
                <c:pt idx="68">
                  <c:v>9.7775246485285443</c:v>
                </c:pt>
                <c:pt idx="69">
                  <c:v>9.7775246485285443</c:v>
                </c:pt>
                <c:pt idx="70">
                  <c:v>7.2831260633689192</c:v>
                </c:pt>
                <c:pt idx="71">
                  <c:v>6.3384434709722104</c:v>
                </c:pt>
                <c:pt idx="72">
                  <c:v>6.3557905446683689</c:v>
                </c:pt>
                <c:pt idx="73">
                  <c:v>7.1347904613967064</c:v>
                </c:pt>
                <c:pt idx="74">
                  <c:v>7.5639348345402766</c:v>
                </c:pt>
                <c:pt idx="75">
                  <c:v>6.9149751254514786</c:v>
                </c:pt>
                <c:pt idx="76">
                  <c:v>7.2460128814120024</c:v>
                </c:pt>
                <c:pt idx="77">
                  <c:v>6.7479317589158923</c:v>
                </c:pt>
                <c:pt idx="78">
                  <c:v>6.8449451648590784</c:v>
                </c:pt>
                <c:pt idx="79">
                  <c:v>7.6856963625189261</c:v>
                </c:pt>
                <c:pt idx="80">
                  <c:v>3.1812355687586473</c:v>
                </c:pt>
                <c:pt idx="81">
                  <c:v>9.7775246485285443</c:v>
                </c:pt>
                <c:pt idx="82">
                  <c:v>9.7775246485285443</c:v>
                </c:pt>
                <c:pt idx="83">
                  <c:v>9.7775246485285443</c:v>
                </c:pt>
                <c:pt idx="84">
                  <c:v>9.7775246485285443</c:v>
                </c:pt>
                <c:pt idx="85">
                  <c:v>9.7775246485285443</c:v>
                </c:pt>
                <c:pt idx="86">
                  <c:v>9.7775246485285443</c:v>
                </c:pt>
                <c:pt idx="87">
                  <c:v>9.7775246485285443</c:v>
                </c:pt>
                <c:pt idx="88">
                  <c:v>9.7775246485285443</c:v>
                </c:pt>
                <c:pt idx="89">
                  <c:v>9.7775246485285443</c:v>
                </c:pt>
                <c:pt idx="90">
                  <c:v>9.7775246485285443</c:v>
                </c:pt>
                <c:pt idx="91">
                  <c:v>9.7775246485285443</c:v>
                </c:pt>
                <c:pt idx="92">
                  <c:v>9.7775246485285443</c:v>
                </c:pt>
                <c:pt idx="93">
                  <c:v>9.7775246485285443</c:v>
                </c:pt>
                <c:pt idx="94">
                  <c:v>9.7775246485285443</c:v>
                </c:pt>
                <c:pt idx="95">
                  <c:v>9.7775246485285443</c:v>
                </c:pt>
                <c:pt idx="96">
                  <c:v>9.7775246485285443</c:v>
                </c:pt>
                <c:pt idx="97">
                  <c:v>9.7775246485285443</c:v>
                </c:pt>
                <c:pt idx="98">
                  <c:v>9.7775246485285443</c:v>
                </c:pt>
                <c:pt idx="99">
                  <c:v>9.7775246485285443</c:v>
                </c:pt>
                <c:pt idx="100">
                  <c:v>9.7775246485285443</c:v>
                </c:pt>
                <c:pt idx="101">
                  <c:v>9.7775246485285443</c:v>
                </c:pt>
                <c:pt idx="102">
                  <c:v>9.7775246485285443</c:v>
                </c:pt>
                <c:pt idx="103">
                  <c:v>9.7775246485285443</c:v>
                </c:pt>
                <c:pt idx="104">
                  <c:v>9.7775246485285443</c:v>
                </c:pt>
                <c:pt idx="105">
                  <c:v>9.7775246485285443</c:v>
                </c:pt>
                <c:pt idx="106">
                  <c:v>9.7775246485285443</c:v>
                </c:pt>
                <c:pt idx="107">
                  <c:v>9.7775246485285443</c:v>
                </c:pt>
                <c:pt idx="108">
                  <c:v>9.7775246485285443</c:v>
                </c:pt>
                <c:pt idx="109">
                  <c:v>9.7775246485285443</c:v>
                </c:pt>
                <c:pt idx="110">
                  <c:v>23.219385686498999</c:v>
                </c:pt>
                <c:pt idx="111">
                  <c:v>32.276508235120531</c:v>
                </c:pt>
                <c:pt idx="112">
                  <c:v>36.289737262302218</c:v>
                </c:pt>
                <c:pt idx="113">
                  <c:v>27.782088791555775</c:v>
                </c:pt>
                <c:pt idx="114">
                  <c:v>52.141768073415612</c:v>
                </c:pt>
                <c:pt idx="115">
                  <c:v>48.854690605465059</c:v>
                </c:pt>
                <c:pt idx="116">
                  <c:v>17.138897329667156</c:v>
                </c:pt>
                <c:pt idx="117">
                  <c:v>67.31634418398005</c:v>
                </c:pt>
                <c:pt idx="118">
                  <c:v>28.027396780352795</c:v>
                </c:pt>
                <c:pt idx="119">
                  <c:v>36.142074494839214</c:v>
                </c:pt>
                <c:pt idx="120">
                  <c:v>41.573277420287759</c:v>
                </c:pt>
                <c:pt idx="121">
                  <c:v>33.847858389586598</c:v>
                </c:pt>
                <c:pt idx="122">
                  <c:v>15.687538158876601</c:v>
                </c:pt>
                <c:pt idx="123">
                  <c:v>34.46300181361547</c:v>
                </c:pt>
                <c:pt idx="124">
                  <c:v>25.863023221891289</c:v>
                </c:pt>
                <c:pt idx="125">
                  <c:v>36.078550219537981</c:v>
                </c:pt>
                <c:pt idx="126">
                  <c:v>40.134793447028763</c:v>
                </c:pt>
                <c:pt idx="127">
                  <c:v>40.829497336204568</c:v>
                </c:pt>
                <c:pt idx="128">
                  <c:v>33.725144568453047</c:v>
                </c:pt>
                <c:pt idx="129">
                  <c:v>39.643118654186082</c:v>
                </c:pt>
                <c:pt idx="130">
                  <c:v>40.030067028123348</c:v>
                </c:pt>
                <c:pt idx="131">
                  <c:v>21.820025076244203</c:v>
                </c:pt>
                <c:pt idx="132">
                  <c:v>18.152125018223032</c:v>
                </c:pt>
                <c:pt idx="133">
                  <c:v>30.41554655567332</c:v>
                </c:pt>
                <c:pt idx="134">
                  <c:v>13.257708743851738</c:v>
                </c:pt>
                <c:pt idx="135">
                  <c:v>19.801801963978722</c:v>
                </c:pt>
                <c:pt idx="136">
                  <c:v>22.252866742416323</c:v>
                </c:pt>
                <c:pt idx="137">
                  <c:v>57.799918357615326</c:v>
                </c:pt>
                <c:pt idx="138">
                  <c:v>47.182760277263057</c:v>
                </c:pt>
                <c:pt idx="139">
                  <c:v>17.030964983439628</c:v>
                </c:pt>
                <c:pt idx="140">
                  <c:v>20.844384450951726</c:v>
                </c:pt>
                <c:pt idx="141">
                  <c:v>51.480687534878165</c:v>
                </c:pt>
                <c:pt idx="142">
                  <c:v>42.607666668603379</c:v>
                </c:pt>
                <c:pt idx="143">
                  <c:v>29.209213648137844</c:v>
                </c:pt>
                <c:pt idx="144">
                  <c:v>23.439752413708508</c:v>
                </c:pt>
                <c:pt idx="145">
                  <c:v>32.98378973595208</c:v>
                </c:pt>
                <c:pt idx="146">
                  <c:v>21.083183701293454</c:v>
                </c:pt>
                <c:pt idx="147">
                  <c:v>26.217537590608298</c:v>
                </c:pt>
                <c:pt idx="148">
                  <c:v>39.933517578321329</c:v>
                </c:pt>
                <c:pt idx="149">
                  <c:v>51.286935752122908</c:v>
                </c:pt>
                <c:pt idx="150">
                  <c:v>48.87804520404547</c:v>
                </c:pt>
                <c:pt idx="151">
                  <c:v>36.655406383056707</c:v>
                </c:pt>
                <c:pt idx="152">
                  <c:v>53.901022322723392</c:v>
                </c:pt>
                <c:pt idx="153">
                  <c:v>49.443464365106365</c:v>
                </c:pt>
                <c:pt idx="154">
                  <c:v>38.776481662735534</c:v>
                </c:pt>
                <c:pt idx="155">
                  <c:v>33.399720431969712</c:v>
                </c:pt>
                <c:pt idx="156">
                  <c:v>38.450105811733494</c:v>
                </c:pt>
                <c:pt idx="157">
                  <c:v>49.301788077249988</c:v>
                </c:pt>
                <c:pt idx="158">
                  <c:v>39.285175222219699</c:v>
                </c:pt>
                <c:pt idx="159">
                  <c:v>31.639776623177038</c:v>
                </c:pt>
                <c:pt idx="160">
                  <c:v>5.853495521277722</c:v>
                </c:pt>
                <c:pt idx="161">
                  <c:v>6.4499674679765837</c:v>
                </c:pt>
                <c:pt idx="162">
                  <c:v>28.533666302196636</c:v>
                </c:pt>
                <c:pt idx="163">
                  <c:v>6.4941727787656136</c:v>
                </c:pt>
                <c:pt idx="164">
                  <c:v>6.8765631446777951</c:v>
                </c:pt>
                <c:pt idx="165">
                  <c:v>7.9878861044597169</c:v>
                </c:pt>
                <c:pt idx="166">
                  <c:v>8.1106728343827648</c:v>
                </c:pt>
                <c:pt idx="167">
                  <c:v>31.650699048848537</c:v>
                </c:pt>
                <c:pt idx="168">
                  <c:v>33.171988467205345</c:v>
                </c:pt>
                <c:pt idx="169">
                  <c:v>30.752293352276748</c:v>
                </c:pt>
                <c:pt idx="170">
                  <c:v>29.517981540065062</c:v>
                </c:pt>
                <c:pt idx="171">
                  <c:v>7.0673036286081059</c:v>
                </c:pt>
                <c:pt idx="172">
                  <c:v>44.536874595779452</c:v>
                </c:pt>
                <c:pt idx="173">
                  <c:v>8.3959873897067112</c:v>
                </c:pt>
                <c:pt idx="174">
                  <c:v>7.8526737087417988</c:v>
                </c:pt>
                <c:pt idx="175">
                  <c:v>25.792996464517127</c:v>
                </c:pt>
                <c:pt idx="176">
                  <c:v>36.79317118742761</c:v>
                </c:pt>
                <c:pt idx="177">
                  <c:v>43.489530330468241</c:v>
                </c:pt>
                <c:pt idx="178">
                  <c:v>49.375148976742608</c:v>
                </c:pt>
                <c:pt idx="179">
                  <c:v>45.978068461343938</c:v>
                </c:pt>
                <c:pt idx="180">
                  <c:v>6.2947732855295477</c:v>
                </c:pt>
                <c:pt idx="181">
                  <c:v>44.206980129724627</c:v>
                </c:pt>
                <c:pt idx="182">
                  <c:v>26.497137327793144</c:v>
                </c:pt>
                <c:pt idx="183">
                  <c:v>17.697591599114155</c:v>
                </c:pt>
                <c:pt idx="184">
                  <c:v>8.9132889374870796</c:v>
                </c:pt>
                <c:pt idx="185">
                  <c:v>8.327131056408561</c:v>
                </c:pt>
                <c:pt idx="186">
                  <c:v>8.1825565315673803</c:v>
                </c:pt>
                <c:pt idx="187">
                  <c:v>10.013214808490678</c:v>
                </c:pt>
                <c:pt idx="188">
                  <c:v>8.1262494108469188</c:v>
                </c:pt>
                <c:pt idx="189">
                  <c:v>9.213797801811209</c:v>
                </c:pt>
                <c:pt idx="190">
                  <c:v>10.013410064162242</c:v>
                </c:pt>
                <c:pt idx="191">
                  <c:v>21.173111358466823</c:v>
                </c:pt>
                <c:pt idx="192">
                  <c:v>31.378947863878125</c:v>
                </c:pt>
                <c:pt idx="193">
                  <c:v>7.5982150707339553</c:v>
                </c:pt>
                <c:pt idx="194">
                  <c:v>6.7680911075304291</c:v>
                </c:pt>
                <c:pt idx="195">
                  <c:v>6.7015612493211316</c:v>
                </c:pt>
                <c:pt idx="196">
                  <c:v>6.6141419003091091</c:v>
                </c:pt>
                <c:pt idx="197">
                  <c:v>6.8685302261120151</c:v>
                </c:pt>
                <c:pt idx="198">
                  <c:v>5.7236335370038356</c:v>
                </c:pt>
                <c:pt idx="199">
                  <c:v>5.6699306567480674</c:v>
                </c:pt>
                <c:pt idx="200">
                  <c:v>5.3421086371212443</c:v>
                </c:pt>
                <c:pt idx="201">
                  <c:v>70.910623724593634</c:v>
                </c:pt>
                <c:pt idx="202">
                  <c:v>55.326783695987231</c:v>
                </c:pt>
                <c:pt idx="203">
                  <c:v>83.477174378431656</c:v>
                </c:pt>
                <c:pt idx="204">
                  <c:v>75.436164097068129</c:v>
                </c:pt>
                <c:pt idx="205">
                  <c:v>66.92646302769235</c:v>
                </c:pt>
                <c:pt idx="206">
                  <c:v>61.654925424346729</c:v>
                </c:pt>
                <c:pt idx="207">
                  <c:v>45.770896321291353</c:v>
                </c:pt>
                <c:pt idx="208">
                  <c:v>56.66685555618519</c:v>
                </c:pt>
                <c:pt idx="209">
                  <c:v>81.869429954854851</c:v>
                </c:pt>
                <c:pt idx="210">
                  <c:v>70.821329118047828</c:v>
                </c:pt>
                <c:pt idx="211">
                  <c:v>55.391578897391057</c:v>
                </c:pt>
                <c:pt idx="212">
                  <c:v>66.07547471098863</c:v>
                </c:pt>
                <c:pt idx="213">
                  <c:v>43.391603435457881</c:v>
                </c:pt>
                <c:pt idx="214">
                  <c:v>51.03875465438643</c:v>
                </c:pt>
                <c:pt idx="215">
                  <c:v>57.364567471161266</c:v>
                </c:pt>
                <c:pt idx="216">
                  <c:v>63.962475347795959</c:v>
                </c:pt>
                <c:pt idx="217">
                  <c:v>68.594633155901874</c:v>
                </c:pt>
                <c:pt idx="218">
                  <c:v>24.850617794927558</c:v>
                </c:pt>
                <c:pt idx="219">
                  <c:v>73.560200536423622</c:v>
                </c:pt>
                <c:pt idx="220">
                  <c:v>70.20876783612448</c:v>
                </c:pt>
                <c:pt idx="221">
                  <c:v>50.204887878635745</c:v>
                </c:pt>
                <c:pt idx="222">
                  <c:v>30.647642142806518</c:v>
                </c:pt>
                <c:pt idx="223">
                  <c:v>47.948927542320632</c:v>
                </c:pt>
                <c:pt idx="224">
                  <c:v>55.944340467084388</c:v>
                </c:pt>
                <c:pt idx="225">
                  <c:v>56.801327888820865</c:v>
                </c:pt>
                <c:pt idx="226">
                  <c:v>46.945150992676552</c:v>
                </c:pt>
                <c:pt idx="227">
                  <c:v>40.448516261748125</c:v>
                </c:pt>
                <c:pt idx="228">
                  <c:v>62.702039906364952</c:v>
                </c:pt>
                <c:pt idx="229">
                  <c:v>25.720094974834918</c:v>
                </c:pt>
                <c:pt idx="230">
                  <c:v>30.59302512100782</c:v>
                </c:pt>
                <c:pt idx="231">
                  <c:v>84.379878211709112</c:v>
                </c:pt>
                <c:pt idx="232">
                  <c:v>86.625086625086624</c:v>
                </c:pt>
                <c:pt idx="233">
                  <c:v>44.357019413020147</c:v>
                </c:pt>
                <c:pt idx="234">
                  <c:v>34.149879724123608</c:v>
                </c:pt>
                <c:pt idx="235">
                  <c:v>42.159700947187943</c:v>
                </c:pt>
                <c:pt idx="236">
                  <c:v>47.058348991438741</c:v>
                </c:pt>
                <c:pt idx="237">
                  <c:v>35.635051096065204</c:v>
                </c:pt>
                <c:pt idx="238">
                  <c:v>50.79244405048442</c:v>
                </c:pt>
                <c:pt idx="239">
                  <c:v>78.133323862627421</c:v>
                </c:pt>
                <c:pt idx="240">
                  <c:v>55.379730608377109</c:v>
                </c:pt>
                <c:pt idx="241">
                  <c:v>23.277387139157394</c:v>
                </c:pt>
                <c:pt idx="242">
                  <c:v>42.601649994674794</c:v>
                </c:pt>
                <c:pt idx="243">
                  <c:v>26.598715814000499</c:v>
                </c:pt>
                <c:pt idx="244">
                  <c:v>22.063347264357084</c:v>
                </c:pt>
                <c:pt idx="245">
                  <c:v>29.482508273528882</c:v>
                </c:pt>
                <c:pt idx="246">
                  <c:v>27.130109221298039</c:v>
                </c:pt>
                <c:pt idx="247">
                  <c:v>47.616188676042228</c:v>
                </c:pt>
                <c:pt idx="248">
                  <c:v>39.246047744600993</c:v>
                </c:pt>
                <c:pt idx="249">
                  <c:v>6.2901569336971717</c:v>
                </c:pt>
                <c:pt idx="250">
                  <c:v>64.292832420732296</c:v>
                </c:pt>
                <c:pt idx="251">
                  <c:v>61.660042494045953</c:v>
                </c:pt>
                <c:pt idx="252">
                  <c:v>34.341838662041965</c:v>
                </c:pt>
                <c:pt idx="253">
                  <c:v>105.82319498471037</c:v>
                </c:pt>
                <c:pt idx="254">
                  <c:v>61.991668319777816</c:v>
                </c:pt>
                <c:pt idx="255">
                  <c:v>61.926866847327979</c:v>
                </c:pt>
                <c:pt idx="256">
                  <c:v>67.615169354187884</c:v>
                </c:pt>
                <c:pt idx="257">
                  <c:v>55.698857405163089</c:v>
                </c:pt>
                <c:pt idx="258">
                  <c:v>51.834758469223594</c:v>
                </c:pt>
                <c:pt idx="259">
                  <c:v>70.067264573991039</c:v>
                </c:pt>
                <c:pt idx="260">
                  <c:v>60.97456872687539</c:v>
                </c:pt>
                <c:pt idx="261">
                  <c:v>70.834503731024284</c:v>
                </c:pt>
                <c:pt idx="262">
                  <c:v>48.721546616775797</c:v>
                </c:pt>
                <c:pt idx="263">
                  <c:v>51.792003314688216</c:v>
                </c:pt>
                <c:pt idx="264">
                  <c:v>49.501860624283026</c:v>
                </c:pt>
                <c:pt idx="265">
                  <c:v>75.878099304197832</c:v>
                </c:pt>
                <c:pt idx="266">
                  <c:v>75.621871735852807</c:v>
                </c:pt>
                <c:pt idx="267">
                  <c:v>60.980136383400676</c:v>
                </c:pt>
                <c:pt idx="268">
                  <c:v>71.419124454437238</c:v>
                </c:pt>
                <c:pt idx="269">
                  <c:v>55.45402379218725</c:v>
                </c:pt>
                <c:pt idx="270">
                  <c:v>59.062053852373381</c:v>
                </c:pt>
                <c:pt idx="271">
                  <c:v>48.331554463620435</c:v>
                </c:pt>
                <c:pt idx="272">
                  <c:v>43.143740562306746</c:v>
                </c:pt>
                <c:pt idx="273">
                  <c:v>63.001599427701599</c:v>
                </c:pt>
                <c:pt idx="274">
                  <c:v>53.796991672225687</c:v>
                </c:pt>
                <c:pt idx="275">
                  <c:v>57.661813464033443</c:v>
                </c:pt>
                <c:pt idx="276">
                  <c:v>48.010787815279535</c:v>
                </c:pt>
                <c:pt idx="277">
                  <c:v>63.528203981439603</c:v>
                </c:pt>
                <c:pt idx="278">
                  <c:v>46.754494275762262</c:v>
                </c:pt>
                <c:pt idx="279">
                  <c:v>53.372574883628722</c:v>
                </c:pt>
                <c:pt idx="280">
                  <c:v>72.175588772365415</c:v>
                </c:pt>
                <c:pt idx="281">
                  <c:v>48.018515939746365</c:v>
                </c:pt>
                <c:pt idx="282">
                  <c:v>71.118697105469025</c:v>
                </c:pt>
                <c:pt idx="283">
                  <c:v>71.621095755017649</c:v>
                </c:pt>
                <c:pt idx="284">
                  <c:v>48.465408915872864</c:v>
                </c:pt>
                <c:pt idx="285">
                  <c:v>56.812371462009565</c:v>
                </c:pt>
                <c:pt idx="286">
                  <c:v>61.2575016510811</c:v>
                </c:pt>
                <c:pt idx="287">
                  <c:v>63.253890114242026</c:v>
                </c:pt>
                <c:pt idx="288">
                  <c:v>66.347869250465664</c:v>
                </c:pt>
                <c:pt idx="289">
                  <c:v>63.673989175421838</c:v>
                </c:pt>
                <c:pt idx="290">
                  <c:v>59.146078491775</c:v>
                </c:pt>
                <c:pt idx="291">
                  <c:v>69.446281647662644</c:v>
                </c:pt>
                <c:pt idx="292">
                  <c:v>73.448762143528683</c:v>
                </c:pt>
                <c:pt idx="293">
                  <c:v>68.450580050215336</c:v>
                </c:pt>
                <c:pt idx="294">
                  <c:v>52.938062466913706</c:v>
                </c:pt>
                <c:pt idx="295">
                  <c:v>54.858370819886723</c:v>
                </c:pt>
                <c:pt idx="296">
                  <c:v>79.172384672226329</c:v>
                </c:pt>
                <c:pt idx="297">
                  <c:v>56.953121885376142</c:v>
                </c:pt>
                <c:pt idx="298">
                  <c:v>63.763762345372882</c:v>
                </c:pt>
                <c:pt idx="299">
                  <c:v>60.355190294885404</c:v>
                </c:pt>
                <c:pt idx="300">
                  <c:v>63.141641051250922</c:v>
                </c:pt>
                <c:pt idx="301">
                  <c:v>69.915635133605448</c:v>
                </c:pt>
                <c:pt idx="302">
                  <c:v>62.706408594958404</c:v>
                </c:pt>
                <c:pt idx="303">
                  <c:v>60.384954082274497</c:v>
                </c:pt>
                <c:pt idx="304">
                  <c:v>51.046162746510426</c:v>
                </c:pt>
                <c:pt idx="305">
                  <c:v>58.978219690399037</c:v>
                </c:pt>
                <c:pt idx="306">
                  <c:v>87.688896497872506</c:v>
                </c:pt>
                <c:pt idx="307">
                  <c:v>51.808928671061132</c:v>
                </c:pt>
                <c:pt idx="308">
                  <c:v>44.18121740181887</c:v>
                </c:pt>
                <c:pt idx="309">
                  <c:v>60.104393819014405</c:v>
                </c:pt>
                <c:pt idx="310">
                  <c:v>76.004755726144012</c:v>
                </c:pt>
                <c:pt idx="311">
                  <c:v>58.937295083756439</c:v>
                </c:pt>
                <c:pt idx="312">
                  <c:v>68.504667658946403</c:v>
                </c:pt>
                <c:pt idx="313">
                  <c:v>52.924454122058918</c:v>
                </c:pt>
                <c:pt idx="314">
                  <c:v>66.470736258362251</c:v>
                </c:pt>
                <c:pt idx="315">
                  <c:v>54.971002796025097</c:v>
                </c:pt>
                <c:pt idx="316">
                  <c:v>51.286713710570424</c:v>
                </c:pt>
                <c:pt idx="317">
                  <c:v>40.981607064448454</c:v>
                </c:pt>
                <c:pt idx="318">
                  <c:v>53.86163435784691</c:v>
                </c:pt>
                <c:pt idx="319">
                  <c:v>41.414645401889686</c:v>
                </c:pt>
                <c:pt idx="320">
                  <c:v>28.907184536583419</c:v>
                </c:pt>
                <c:pt idx="321">
                  <c:v>59.23151881078396</c:v>
                </c:pt>
                <c:pt idx="322">
                  <c:v>51.129412194364811</c:v>
                </c:pt>
                <c:pt idx="323">
                  <c:v>30.009077746018171</c:v>
                </c:pt>
                <c:pt idx="324">
                  <c:v>7.2281012385206909</c:v>
                </c:pt>
                <c:pt idx="325">
                  <c:v>52.361503822389771</c:v>
                </c:pt>
                <c:pt idx="326">
                  <c:v>31.883484992443616</c:v>
                </c:pt>
                <c:pt idx="327">
                  <c:v>36.419656416961359</c:v>
                </c:pt>
                <c:pt idx="328">
                  <c:v>23.763411475351401</c:v>
                </c:pt>
                <c:pt idx="329">
                  <c:v>32.783974100660465</c:v>
                </c:pt>
                <c:pt idx="330">
                  <c:v>61.055832604602436</c:v>
                </c:pt>
                <c:pt idx="331">
                  <c:v>6.4470527005531579</c:v>
                </c:pt>
                <c:pt idx="332">
                  <c:v>5.4564899491455137</c:v>
                </c:pt>
                <c:pt idx="333">
                  <c:v>8.1074811389912576</c:v>
                </c:pt>
                <c:pt idx="334">
                  <c:v>42.80319724030349</c:v>
                </c:pt>
                <c:pt idx="335">
                  <c:v>53.20390482336304</c:v>
                </c:pt>
                <c:pt idx="336">
                  <c:v>19.466008456034075</c:v>
                </c:pt>
                <c:pt idx="337">
                  <c:v>36.105210583640726</c:v>
                </c:pt>
                <c:pt idx="338">
                  <c:v>48.828042786835283</c:v>
                </c:pt>
                <c:pt idx="339">
                  <c:v>55.869875335684831</c:v>
                </c:pt>
                <c:pt idx="340">
                  <c:v>55.210388386678844</c:v>
                </c:pt>
                <c:pt idx="341">
                  <c:v>7.7590590478249002</c:v>
                </c:pt>
                <c:pt idx="342">
                  <c:v>8.5220203324042441</c:v>
                </c:pt>
                <c:pt idx="343">
                  <c:v>40.47257247349966</c:v>
                </c:pt>
                <c:pt idx="344">
                  <c:v>5.8330676046980079</c:v>
                </c:pt>
                <c:pt idx="345">
                  <c:v>25.644895137037444</c:v>
                </c:pt>
                <c:pt idx="346">
                  <c:v>8.5280451872687646</c:v>
                </c:pt>
                <c:pt idx="347">
                  <c:v>25.781426727521925</c:v>
                </c:pt>
                <c:pt idx="348">
                  <c:v>52.638505066456112</c:v>
                </c:pt>
                <c:pt idx="349">
                  <c:v>50.96609056108003</c:v>
                </c:pt>
                <c:pt idx="350">
                  <c:v>33.487336590457957</c:v>
                </c:pt>
                <c:pt idx="351">
                  <c:v>22.810180436975472</c:v>
                </c:pt>
                <c:pt idx="352">
                  <c:v>8.3473465535556333</c:v>
                </c:pt>
                <c:pt idx="353">
                  <c:v>24.227545103613135</c:v>
                </c:pt>
                <c:pt idx="354">
                  <c:v>40.515712169334542</c:v>
                </c:pt>
                <c:pt idx="355">
                  <c:v>28.093612411533215</c:v>
                </c:pt>
                <c:pt idx="356">
                  <c:v>30.36086051353227</c:v>
                </c:pt>
                <c:pt idx="357">
                  <c:v>42.713321003421335</c:v>
                </c:pt>
                <c:pt idx="358">
                  <c:v>36.760583831592413</c:v>
                </c:pt>
                <c:pt idx="359">
                  <c:v>39.727498786104206</c:v>
                </c:pt>
                <c:pt idx="360">
                  <c:v>42.331426851294403</c:v>
                </c:pt>
                <c:pt idx="361">
                  <c:v>39.801543381386047</c:v>
                </c:pt>
                <c:pt idx="362">
                  <c:v>56.813434706324671</c:v>
                </c:pt>
                <c:pt idx="363">
                  <c:v>52.779825439523997</c:v>
                </c:pt>
                <c:pt idx="364">
                  <c:v>48.937194635852023</c:v>
                </c:pt>
                <c:pt idx="365">
                  <c:v>54.20651598459812</c:v>
                </c:pt>
                <c:pt idx="366">
                  <c:v>36.062893686589412</c:v>
                </c:pt>
                <c:pt idx="367">
                  <c:v>40.338402525917424</c:v>
                </c:pt>
                <c:pt idx="368">
                  <c:v>57.578676593023019</c:v>
                </c:pt>
                <c:pt idx="369">
                  <c:v>31.673680467273172</c:v>
                </c:pt>
                <c:pt idx="370">
                  <c:v>20.661948351176523</c:v>
                </c:pt>
                <c:pt idx="371">
                  <c:v>21.165898310961314</c:v>
                </c:pt>
                <c:pt idx="372">
                  <c:v>14.972224184727303</c:v>
                </c:pt>
                <c:pt idx="373">
                  <c:v>17.679163198681692</c:v>
                </c:pt>
                <c:pt idx="374">
                  <c:v>17.679163198681692</c:v>
                </c:pt>
                <c:pt idx="375">
                  <c:v>13.20371139822765</c:v>
                </c:pt>
                <c:pt idx="376">
                  <c:v>13.20371139822765</c:v>
                </c:pt>
                <c:pt idx="377">
                  <c:v>13.20371139822765</c:v>
                </c:pt>
                <c:pt idx="378">
                  <c:v>13.616327379422264</c:v>
                </c:pt>
                <c:pt idx="379">
                  <c:v>13.20371139822765</c:v>
                </c:pt>
                <c:pt idx="380">
                  <c:v>13.20371139822765</c:v>
                </c:pt>
                <c:pt idx="381">
                  <c:v>13.616327379422264</c:v>
                </c:pt>
                <c:pt idx="382">
                  <c:v>13.20371139822765</c:v>
                </c:pt>
                <c:pt idx="383">
                  <c:v>13.20371139822765</c:v>
                </c:pt>
                <c:pt idx="384">
                  <c:v>16.39632818697601</c:v>
                </c:pt>
                <c:pt idx="385">
                  <c:v>16.195781808627942</c:v>
                </c:pt>
                <c:pt idx="386">
                  <c:v>14.684891596130239</c:v>
                </c:pt>
                <c:pt idx="387">
                  <c:v>15.379131071207743</c:v>
                </c:pt>
                <c:pt idx="388">
                  <c:v>13.726176504903677</c:v>
                </c:pt>
                <c:pt idx="389">
                  <c:v>13.129440840284214</c:v>
                </c:pt>
                <c:pt idx="390">
                  <c:v>13.129440840284214</c:v>
                </c:pt>
                <c:pt idx="391">
                  <c:v>12.743280815569973</c:v>
                </c:pt>
                <c:pt idx="392">
                  <c:v>19.232094519333863</c:v>
                </c:pt>
                <c:pt idx="393">
                  <c:v>14.791167728883812</c:v>
                </c:pt>
                <c:pt idx="394">
                  <c:v>17.852628003342783</c:v>
                </c:pt>
                <c:pt idx="395">
                  <c:v>15.664487562396877</c:v>
                </c:pt>
                <c:pt idx="396">
                  <c:v>13.759547905641458</c:v>
                </c:pt>
                <c:pt idx="397">
                  <c:v>17.450424832720653</c:v>
                </c:pt>
                <c:pt idx="398">
                  <c:v>15.020183371405327</c:v>
                </c:pt>
                <c:pt idx="399">
                  <c:v>11.82716790579717</c:v>
                </c:pt>
                <c:pt idx="400">
                  <c:v>24.904298315860661</c:v>
                </c:pt>
                <c:pt idx="401">
                  <c:v>17.266440718629266</c:v>
                </c:pt>
                <c:pt idx="402">
                  <c:v>24.088599965333366</c:v>
                </c:pt>
                <c:pt idx="403">
                  <c:v>23.704022098469668</c:v>
                </c:pt>
                <c:pt idx="404">
                  <c:v>19.667220542664001</c:v>
                </c:pt>
                <c:pt idx="405">
                  <c:v>20.012340943581876</c:v>
                </c:pt>
                <c:pt idx="406">
                  <c:v>24.339837232870288</c:v>
                </c:pt>
                <c:pt idx="407">
                  <c:v>14.347861020879007</c:v>
                </c:pt>
                <c:pt idx="408">
                  <c:v>17.390502520814003</c:v>
                </c:pt>
                <c:pt idx="409">
                  <c:v>22.117838313072472</c:v>
                </c:pt>
                <c:pt idx="410">
                  <c:v>19.529678008872391</c:v>
                </c:pt>
                <c:pt idx="411">
                  <c:v>14.459042895316063</c:v>
                </c:pt>
                <c:pt idx="412">
                  <c:v>14.793473859007099</c:v>
                </c:pt>
                <c:pt idx="413">
                  <c:v>18.464160820897156</c:v>
                </c:pt>
                <c:pt idx="414">
                  <c:v>12.685962619905</c:v>
                </c:pt>
                <c:pt idx="415">
                  <c:v>19.544486988832624</c:v>
                </c:pt>
                <c:pt idx="416">
                  <c:v>11.703215809640172</c:v>
                </c:pt>
                <c:pt idx="417">
                  <c:v>16.392045268272213</c:v>
                </c:pt>
                <c:pt idx="418">
                  <c:v>17.525367970136774</c:v>
                </c:pt>
                <c:pt idx="419">
                  <c:v>21.036488841720406</c:v>
                </c:pt>
                <c:pt idx="420">
                  <c:v>23.692248625242087</c:v>
                </c:pt>
                <c:pt idx="421">
                  <c:v>17.910069186113212</c:v>
                </c:pt>
                <c:pt idx="422">
                  <c:v>19.58086367485182</c:v>
                </c:pt>
                <c:pt idx="423">
                  <c:v>21.305743815475214</c:v>
                </c:pt>
                <c:pt idx="424">
                  <c:v>16.835348845263425</c:v>
                </c:pt>
                <c:pt idx="425">
                  <c:v>23.199545515244928</c:v>
                </c:pt>
                <c:pt idx="426">
                  <c:v>13.042725114378586</c:v>
                </c:pt>
                <c:pt idx="427">
                  <c:v>18.704027469325393</c:v>
                </c:pt>
                <c:pt idx="428">
                  <c:v>24.055464736224152</c:v>
                </c:pt>
                <c:pt idx="429">
                  <c:v>27.685109563821101</c:v>
                </c:pt>
                <c:pt idx="430">
                  <c:v>18.514876703431206</c:v>
                </c:pt>
                <c:pt idx="431">
                  <c:v>19.797419285680139</c:v>
                </c:pt>
                <c:pt idx="432">
                  <c:v>25.075884402561083</c:v>
                </c:pt>
                <c:pt idx="433">
                  <c:v>18.250599404860687</c:v>
                </c:pt>
                <c:pt idx="434">
                  <c:v>16.444464447067865</c:v>
                </c:pt>
                <c:pt idx="435">
                  <c:v>21.770112672990127</c:v>
                </c:pt>
                <c:pt idx="436">
                  <c:v>18.72137190213299</c:v>
                </c:pt>
                <c:pt idx="437">
                  <c:v>19.912494542731963</c:v>
                </c:pt>
                <c:pt idx="438">
                  <c:v>25.295688530573454</c:v>
                </c:pt>
                <c:pt idx="439">
                  <c:v>15.12177843112007</c:v>
                </c:pt>
                <c:pt idx="440">
                  <c:v>23.787774986678844</c:v>
                </c:pt>
                <c:pt idx="441">
                  <c:v>22.876073855697726</c:v>
                </c:pt>
                <c:pt idx="442">
                  <c:v>17.037699073343887</c:v>
                </c:pt>
                <c:pt idx="443">
                  <c:v>20.480385829463504</c:v>
                </c:pt>
                <c:pt idx="444">
                  <c:v>22.51662564800754</c:v>
                </c:pt>
                <c:pt idx="445">
                  <c:v>17.273259677960638</c:v>
                </c:pt>
                <c:pt idx="446">
                  <c:v>19.113349901270446</c:v>
                </c:pt>
                <c:pt idx="447">
                  <c:v>21.634659390024648</c:v>
                </c:pt>
                <c:pt idx="448">
                  <c:v>17.54130245841354</c:v>
                </c:pt>
                <c:pt idx="449">
                  <c:v>17.151232290053322</c:v>
                </c:pt>
                <c:pt idx="450">
                  <c:v>22.990884114448622</c:v>
                </c:pt>
                <c:pt idx="451">
                  <c:v>21.333718434301993</c:v>
                </c:pt>
                <c:pt idx="452">
                  <c:v>19.813619882307098</c:v>
                </c:pt>
                <c:pt idx="453">
                  <c:v>21.234468410620757</c:v>
                </c:pt>
                <c:pt idx="454">
                  <c:v>11.076427761794447</c:v>
                </c:pt>
                <c:pt idx="455">
                  <c:v>27.22894436786304</c:v>
                </c:pt>
                <c:pt idx="456">
                  <c:v>22.166995057263897</c:v>
                </c:pt>
                <c:pt idx="457">
                  <c:v>19.126086600795006</c:v>
                </c:pt>
                <c:pt idx="458">
                  <c:v>26.304283272580182</c:v>
                </c:pt>
                <c:pt idx="459">
                  <c:v>26.304283272580182</c:v>
                </c:pt>
                <c:pt idx="460">
                  <c:v>26.304283272580182</c:v>
                </c:pt>
                <c:pt idx="461">
                  <c:v>18.884219010881456</c:v>
                </c:pt>
                <c:pt idx="462">
                  <c:v>11.334154681742604</c:v>
                </c:pt>
                <c:pt idx="463">
                  <c:v>11.674622984997733</c:v>
                </c:pt>
                <c:pt idx="464">
                  <c:v>14.641761317758517</c:v>
                </c:pt>
                <c:pt idx="465">
                  <c:v>11.478195316674153</c:v>
                </c:pt>
                <c:pt idx="466">
                  <c:v>16.422053339650351</c:v>
                </c:pt>
                <c:pt idx="467">
                  <c:v>73.469987510102115</c:v>
                </c:pt>
                <c:pt idx="468">
                  <c:v>73.273876816145375</c:v>
                </c:pt>
                <c:pt idx="469">
                  <c:v>56.68891391599459</c:v>
                </c:pt>
                <c:pt idx="470">
                  <c:v>73.367956021150931</c:v>
                </c:pt>
                <c:pt idx="471">
                  <c:v>57.781758298905039</c:v>
                </c:pt>
                <c:pt idx="472">
                  <c:v>61.057982186333696</c:v>
                </c:pt>
                <c:pt idx="473">
                  <c:v>72.985470678087154</c:v>
                </c:pt>
                <c:pt idx="474">
                  <c:v>95.793365003200364</c:v>
                </c:pt>
                <c:pt idx="475">
                  <c:v>81.82279364836927</c:v>
                </c:pt>
                <c:pt idx="476">
                  <c:v>67.176210664596638</c:v>
                </c:pt>
                <c:pt idx="477">
                  <c:v>88.080782660668788</c:v>
                </c:pt>
                <c:pt idx="478">
                  <c:v>45.724356949270906</c:v>
                </c:pt>
                <c:pt idx="479">
                  <c:v>34.991951851074255</c:v>
                </c:pt>
                <c:pt idx="480">
                  <c:v>19.431813765496873</c:v>
                </c:pt>
                <c:pt idx="481">
                  <c:v>15.418187499550303</c:v>
                </c:pt>
                <c:pt idx="482">
                  <c:v>18.485727617845114</c:v>
                </c:pt>
                <c:pt idx="483">
                  <c:v>24.3650560115153</c:v>
                </c:pt>
                <c:pt idx="484">
                  <c:v>17.05006851748465</c:v>
                </c:pt>
                <c:pt idx="485">
                  <c:v>15.930483617621665</c:v>
                </c:pt>
                <c:pt idx="486">
                  <c:v>12.547119520469439</c:v>
                </c:pt>
                <c:pt idx="487">
                  <c:v>12.485641512260901</c:v>
                </c:pt>
                <c:pt idx="488">
                  <c:v>14.443770401825693</c:v>
                </c:pt>
                <c:pt idx="489">
                  <c:v>11.335868789319212</c:v>
                </c:pt>
                <c:pt idx="490">
                  <c:v>14.10059900868978</c:v>
                </c:pt>
                <c:pt idx="491">
                  <c:v>17.695435020150676</c:v>
                </c:pt>
                <c:pt idx="492">
                  <c:v>14.032921233213118</c:v>
                </c:pt>
                <c:pt idx="493">
                  <c:v>9.9812411379789161</c:v>
                </c:pt>
                <c:pt idx="494">
                  <c:v>12.192259743901584</c:v>
                </c:pt>
                <c:pt idx="495">
                  <c:v>12.234159161120239</c:v>
                </c:pt>
                <c:pt idx="496">
                  <c:v>13.846603276241423</c:v>
                </c:pt>
                <c:pt idx="497">
                  <c:v>12.223581174008615</c:v>
                </c:pt>
                <c:pt idx="498">
                  <c:v>14.272944505132118</c:v>
                </c:pt>
                <c:pt idx="499">
                  <c:v>12.325081150929051</c:v>
                </c:pt>
                <c:pt idx="500">
                  <c:v>14.667463598855539</c:v>
                </c:pt>
                <c:pt idx="501">
                  <c:v>13.5167685911888</c:v>
                </c:pt>
                <c:pt idx="502">
                  <c:v>13.70088233682249</c:v>
                </c:pt>
                <c:pt idx="503">
                  <c:v>14.945024181778152</c:v>
                </c:pt>
                <c:pt idx="504">
                  <c:v>10.913852150044923</c:v>
                </c:pt>
                <c:pt idx="505">
                  <c:v>8.9804121175266527</c:v>
                </c:pt>
                <c:pt idx="506">
                  <c:v>15.40673222842608</c:v>
                </c:pt>
                <c:pt idx="507">
                  <c:v>13.31235628706281</c:v>
                </c:pt>
                <c:pt idx="508">
                  <c:v>17.216187407930825</c:v>
                </c:pt>
                <c:pt idx="509">
                  <c:v>12.714138740805444</c:v>
                </c:pt>
                <c:pt idx="510">
                  <c:v>13.782067788913849</c:v>
                </c:pt>
                <c:pt idx="511">
                  <c:v>11.547429301666005</c:v>
                </c:pt>
                <c:pt idx="512">
                  <c:v>17.384350607583052</c:v>
                </c:pt>
                <c:pt idx="513">
                  <c:v>12.657462347565478</c:v>
                </c:pt>
                <c:pt idx="514">
                  <c:v>14.185131570641602</c:v>
                </c:pt>
                <c:pt idx="515">
                  <c:v>12.004774655779309</c:v>
                </c:pt>
                <c:pt idx="516">
                  <c:v>14.410161469461807</c:v>
                </c:pt>
                <c:pt idx="517">
                  <c:v>18.38371876587032</c:v>
                </c:pt>
                <c:pt idx="518">
                  <c:v>18.553191226195871</c:v>
                </c:pt>
                <c:pt idx="519">
                  <c:v>12.988207789677622</c:v>
                </c:pt>
                <c:pt idx="520">
                  <c:v>11.284257981389866</c:v>
                </c:pt>
                <c:pt idx="521">
                  <c:v>14.254313026176035</c:v>
                </c:pt>
                <c:pt idx="522">
                  <c:v>11.248755606411041</c:v>
                </c:pt>
                <c:pt idx="523">
                  <c:v>16.110861589230399</c:v>
                </c:pt>
                <c:pt idx="524">
                  <c:v>13.007003586852385</c:v>
                </c:pt>
                <c:pt idx="525">
                  <c:v>15.487170234588039</c:v>
                </c:pt>
                <c:pt idx="526">
                  <c:v>13.676113411203399</c:v>
                </c:pt>
                <c:pt idx="527">
                  <c:v>12.848791142899971</c:v>
                </c:pt>
                <c:pt idx="528">
                  <c:v>13.106696702846611</c:v>
                </c:pt>
                <c:pt idx="529">
                  <c:v>10.382635820288254</c:v>
                </c:pt>
                <c:pt idx="530">
                  <c:v>13.847824007682645</c:v>
                </c:pt>
                <c:pt idx="531">
                  <c:v>12.097080801587136</c:v>
                </c:pt>
                <c:pt idx="532">
                  <c:v>15.327582519426819</c:v>
                </c:pt>
                <c:pt idx="533">
                  <c:v>14.491730424087484</c:v>
                </c:pt>
                <c:pt idx="534">
                  <c:v>13.217664086284911</c:v>
                </c:pt>
                <c:pt idx="535">
                  <c:v>12.700525834334991</c:v>
                </c:pt>
                <c:pt idx="536">
                  <c:v>15.24144628261125</c:v>
                </c:pt>
                <c:pt idx="537">
                  <c:v>15.113301843601654</c:v>
                </c:pt>
                <c:pt idx="538">
                  <c:v>12.167997093995989</c:v>
                </c:pt>
                <c:pt idx="539">
                  <c:v>14.109875007672246</c:v>
                </c:pt>
                <c:pt idx="540">
                  <c:v>13.78424250690391</c:v>
                </c:pt>
                <c:pt idx="541">
                  <c:v>14.762666110034047</c:v>
                </c:pt>
                <c:pt idx="542">
                  <c:v>10.072065629579642</c:v>
                </c:pt>
                <c:pt idx="543">
                  <c:v>28.618284346296171</c:v>
                </c:pt>
                <c:pt idx="544">
                  <c:v>36.320103037338463</c:v>
                </c:pt>
                <c:pt idx="545">
                  <c:v>32.920278437444658</c:v>
                </c:pt>
                <c:pt idx="546">
                  <c:v>64.694333338958927</c:v>
                </c:pt>
                <c:pt idx="547">
                  <c:v>41.540580353861841</c:v>
                </c:pt>
                <c:pt idx="548">
                  <c:v>68.282266474648665</c:v>
                </c:pt>
                <c:pt idx="549">
                  <c:v>90.69317930608382</c:v>
                </c:pt>
                <c:pt idx="550">
                  <c:v>39.626029348027984</c:v>
                </c:pt>
                <c:pt idx="551">
                  <c:v>75.031888552634868</c:v>
                </c:pt>
                <c:pt idx="552">
                  <c:v>32.820470300065473</c:v>
                </c:pt>
                <c:pt idx="553">
                  <c:v>52.202359546651508</c:v>
                </c:pt>
                <c:pt idx="554">
                  <c:v>88.191717033936172</c:v>
                </c:pt>
                <c:pt idx="555">
                  <c:v>40.549562426775452</c:v>
                </c:pt>
                <c:pt idx="556">
                  <c:v>40.549562426775452</c:v>
                </c:pt>
                <c:pt idx="557">
                  <c:v>57.990344607622831</c:v>
                </c:pt>
                <c:pt idx="558">
                  <c:v>56.045434165296669</c:v>
                </c:pt>
                <c:pt idx="559">
                  <c:v>75.797412465831954</c:v>
                </c:pt>
                <c:pt idx="560">
                  <c:v>12.769607732673521</c:v>
                </c:pt>
                <c:pt idx="561">
                  <c:v>13.599562396303337</c:v>
                </c:pt>
                <c:pt idx="562">
                  <c:v>11.975947119396308</c:v>
                </c:pt>
                <c:pt idx="563">
                  <c:v>14.094913664944615</c:v>
                </c:pt>
                <c:pt idx="564">
                  <c:v>14.368134597400763</c:v>
                </c:pt>
                <c:pt idx="565">
                  <c:v>12.76894139446062</c:v>
                </c:pt>
                <c:pt idx="566">
                  <c:v>15.174358802049404</c:v>
                </c:pt>
                <c:pt idx="567">
                  <c:v>11.089354853018522</c:v>
                </c:pt>
                <c:pt idx="568">
                  <c:v>14.802095976790314</c:v>
                </c:pt>
                <c:pt idx="569">
                  <c:v>15.099563255335248</c:v>
                </c:pt>
                <c:pt idx="570">
                  <c:v>13.931355567334554</c:v>
                </c:pt>
                <c:pt idx="571">
                  <c:v>14.55368874436371</c:v>
                </c:pt>
                <c:pt idx="572">
                  <c:v>12.95622092947929</c:v>
                </c:pt>
                <c:pt idx="573">
                  <c:v>13.219272479033894</c:v>
                </c:pt>
                <c:pt idx="574">
                  <c:v>11.704717293687288</c:v>
                </c:pt>
                <c:pt idx="575">
                  <c:v>13.855976251532606</c:v>
                </c:pt>
                <c:pt idx="576">
                  <c:v>13.057004560666615</c:v>
                </c:pt>
                <c:pt idx="577">
                  <c:v>11.739615331937623</c:v>
                </c:pt>
                <c:pt idx="578">
                  <c:v>12.818246706722563</c:v>
                </c:pt>
                <c:pt idx="579">
                  <c:v>13.652205158786069</c:v>
                </c:pt>
                <c:pt idx="580">
                  <c:v>13.650755255336012</c:v>
                </c:pt>
                <c:pt idx="581">
                  <c:v>16.375998753968453</c:v>
                </c:pt>
                <c:pt idx="582">
                  <c:v>13.04843232680029</c:v>
                </c:pt>
                <c:pt idx="583">
                  <c:v>10.573581554034526</c:v>
                </c:pt>
                <c:pt idx="584">
                  <c:v>14.883981226834479</c:v>
                </c:pt>
                <c:pt idx="585">
                  <c:v>10.621218472821463</c:v>
                </c:pt>
                <c:pt idx="586">
                  <c:v>16.340269777854033</c:v>
                </c:pt>
                <c:pt idx="587">
                  <c:v>12.430793284885466</c:v>
                </c:pt>
                <c:pt idx="588">
                  <c:v>12.5625624096217</c:v>
                </c:pt>
                <c:pt idx="589">
                  <c:v>13.252443284915353</c:v>
                </c:pt>
                <c:pt idx="590">
                  <c:v>12.749963025107228</c:v>
                </c:pt>
                <c:pt idx="591">
                  <c:v>12.710028089162076</c:v>
                </c:pt>
                <c:pt idx="592">
                  <c:v>12.62556896102828</c:v>
                </c:pt>
                <c:pt idx="593">
                  <c:v>17.313219219981764</c:v>
                </c:pt>
                <c:pt idx="594">
                  <c:v>12.939211932051652</c:v>
                </c:pt>
                <c:pt idx="595">
                  <c:v>13.062462465332704</c:v>
                </c:pt>
                <c:pt idx="596">
                  <c:v>12.170574460019813</c:v>
                </c:pt>
                <c:pt idx="597">
                  <c:v>14.851823358353705</c:v>
                </c:pt>
                <c:pt idx="598">
                  <c:v>15.987558772446171</c:v>
                </c:pt>
                <c:pt idx="599">
                  <c:v>13.66310428331813</c:v>
                </c:pt>
                <c:pt idx="600">
                  <c:v>13.186770476625409</c:v>
                </c:pt>
                <c:pt idx="601">
                  <c:v>11.078696871538925</c:v>
                </c:pt>
                <c:pt idx="602">
                  <c:v>14.821863434314688</c:v>
                </c:pt>
                <c:pt idx="603">
                  <c:v>16.242209877303324</c:v>
                </c:pt>
                <c:pt idx="604">
                  <c:v>9.6653763849448779</c:v>
                </c:pt>
                <c:pt idx="605">
                  <c:v>9.5964763932164434</c:v>
                </c:pt>
                <c:pt idx="606">
                  <c:v>10.783974547488397</c:v>
                </c:pt>
                <c:pt idx="607">
                  <c:v>15.152600896592022</c:v>
                </c:pt>
                <c:pt idx="608">
                  <c:v>13.445220954669146</c:v>
                </c:pt>
                <c:pt idx="609">
                  <c:v>11.269980266264554</c:v>
                </c:pt>
                <c:pt idx="610">
                  <c:v>8.7280993399940581</c:v>
                </c:pt>
                <c:pt idx="611">
                  <c:v>14.392598750018792</c:v>
                </c:pt>
                <c:pt idx="612">
                  <c:v>12.954414648605333</c:v>
                </c:pt>
                <c:pt idx="613">
                  <c:v>14.607709949311246</c:v>
                </c:pt>
                <c:pt idx="614">
                  <c:v>7.9994280408950758</c:v>
                </c:pt>
                <c:pt idx="615">
                  <c:v>14.799383338035549</c:v>
                </c:pt>
                <c:pt idx="616">
                  <c:v>14.063853915018157</c:v>
                </c:pt>
                <c:pt idx="617">
                  <c:v>11.47871402923211</c:v>
                </c:pt>
                <c:pt idx="618">
                  <c:v>10.55860598244749</c:v>
                </c:pt>
                <c:pt idx="619">
                  <c:v>14.54266530529282</c:v>
                </c:pt>
                <c:pt idx="620">
                  <c:v>15.8596489482254</c:v>
                </c:pt>
                <c:pt idx="621">
                  <c:v>8.0951916828057815</c:v>
                </c:pt>
                <c:pt idx="622">
                  <c:v>11.940573708467284</c:v>
                </c:pt>
                <c:pt idx="623">
                  <c:v>10.50928739943773</c:v>
                </c:pt>
                <c:pt idx="624">
                  <c:v>8.7452763361567616</c:v>
                </c:pt>
                <c:pt idx="625">
                  <c:v>14.044146056622253</c:v>
                </c:pt>
                <c:pt idx="626">
                  <c:v>13.610906947506898</c:v>
                </c:pt>
                <c:pt idx="627">
                  <c:v>14.196000631722027</c:v>
                </c:pt>
                <c:pt idx="628">
                  <c:v>13.143326547376693</c:v>
                </c:pt>
                <c:pt idx="629">
                  <c:v>16.161621839832005</c:v>
                </c:pt>
                <c:pt idx="630">
                  <c:v>14.864099255594475</c:v>
                </c:pt>
                <c:pt idx="631">
                  <c:v>15.131998312782187</c:v>
                </c:pt>
                <c:pt idx="632">
                  <c:v>18.806703986737368</c:v>
                </c:pt>
                <c:pt idx="633">
                  <c:v>13.594667188084825</c:v>
                </c:pt>
                <c:pt idx="634">
                  <c:v>11.063785489292142</c:v>
                </c:pt>
                <c:pt idx="635">
                  <c:v>8.37658104356602</c:v>
                </c:pt>
                <c:pt idx="636">
                  <c:v>11.731220968719537</c:v>
                </c:pt>
                <c:pt idx="637">
                  <c:v>5.5169500408648373</c:v>
                </c:pt>
                <c:pt idx="638">
                  <c:v>12.222140741283948</c:v>
                </c:pt>
                <c:pt idx="639">
                  <c:v>11.057815511958889</c:v>
                </c:pt>
                <c:pt idx="640">
                  <c:v>4.4508926111652638</c:v>
                </c:pt>
                <c:pt idx="641">
                  <c:v>7.6255824492499338</c:v>
                </c:pt>
                <c:pt idx="642">
                  <c:v>10.096366209625804</c:v>
                </c:pt>
                <c:pt idx="643">
                  <c:v>9.4535054543575292</c:v>
                </c:pt>
                <c:pt idx="644">
                  <c:v>9.4535054543575292</c:v>
                </c:pt>
                <c:pt idx="645">
                  <c:v>9.4535054543575292</c:v>
                </c:pt>
                <c:pt idx="646">
                  <c:v>9.4535054543575292</c:v>
                </c:pt>
                <c:pt idx="647">
                  <c:v>25.085842994550291</c:v>
                </c:pt>
                <c:pt idx="648">
                  <c:v>25.085842994550291</c:v>
                </c:pt>
                <c:pt idx="649">
                  <c:v>15.151737070896493</c:v>
                </c:pt>
                <c:pt idx="650">
                  <c:v>11.037503228469694</c:v>
                </c:pt>
                <c:pt idx="651">
                  <c:v>17.946635678809059</c:v>
                </c:pt>
                <c:pt idx="652">
                  <c:v>8.0493083978712079</c:v>
                </c:pt>
                <c:pt idx="653">
                  <c:v>8.1853201645644518</c:v>
                </c:pt>
                <c:pt idx="654">
                  <c:v>9.5898034235598217</c:v>
                </c:pt>
                <c:pt idx="655">
                  <c:v>18.752281771785903</c:v>
                </c:pt>
                <c:pt idx="656">
                  <c:v>9.5898034235598217</c:v>
                </c:pt>
                <c:pt idx="657">
                  <c:v>4.566329463991794</c:v>
                </c:pt>
                <c:pt idx="658">
                  <c:v>15.875645014227224</c:v>
                </c:pt>
                <c:pt idx="659">
                  <c:v>8.588528628083246</c:v>
                </c:pt>
                <c:pt idx="660">
                  <c:v>16.663393078097425</c:v>
                </c:pt>
                <c:pt idx="661">
                  <c:v>16.654742579692059</c:v>
                </c:pt>
                <c:pt idx="662">
                  <c:v>14.277709703068059</c:v>
                </c:pt>
                <c:pt idx="663">
                  <c:v>14.277456023849062</c:v>
                </c:pt>
                <c:pt idx="664">
                  <c:v>15.103260334241718</c:v>
                </c:pt>
                <c:pt idx="665">
                  <c:v>16.444200130613932</c:v>
                </c:pt>
                <c:pt idx="666">
                  <c:v>15.281893630379384</c:v>
                </c:pt>
                <c:pt idx="667">
                  <c:v>16.327134464614936</c:v>
                </c:pt>
                <c:pt idx="668">
                  <c:v>10.401549064380662</c:v>
                </c:pt>
                <c:pt idx="669">
                  <c:v>16.171720271905112</c:v>
                </c:pt>
                <c:pt idx="670">
                  <c:v>13.653281582104167</c:v>
                </c:pt>
                <c:pt idx="671">
                  <c:v>16.203860772377279</c:v>
                </c:pt>
                <c:pt idx="672">
                  <c:v>16.825582132784906</c:v>
                </c:pt>
                <c:pt idx="673">
                  <c:v>14.517281811162574</c:v>
                </c:pt>
                <c:pt idx="674">
                  <c:v>17.036071525402594</c:v>
                </c:pt>
                <c:pt idx="675">
                  <c:v>13.899857842362975</c:v>
                </c:pt>
                <c:pt idx="676">
                  <c:v>13.885332889002681</c:v>
                </c:pt>
                <c:pt idx="677">
                  <c:v>15.796274757655958</c:v>
                </c:pt>
                <c:pt idx="678">
                  <c:v>16.654713071185789</c:v>
                </c:pt>
                <c:pt idx="679">
                  <c:v>12.407091562681453</c:v>
                </c:pt>
                <c:pt idx="680">
                  <c:v>17.480014207160483</c:v>
                </c:pt>
                <c:pt idx="681">
                  <c:v>14.404136868108521</c:v>
                </c:pt>
                <c:pt idx="682">
                  <c:v>12.119249687929321</c:v>
                </c:pt>
                <c:pt idx="683">
                  <c:v>14.550331699061633</c:v>
                </c:pt>
                <c:pt idx="684">
                  <c:v>17.985769952458838</c:v>
                </c:pt>
                <c:pt idx="685">
                  <c:v>15.268137735494783</c:v>
                </c:pt>
                <c:pt idx="686">
                  <c:v>18.744741058758514</c:v>
                </c:pt>
                <c:pt idx="687">
                  <c:v>15.729157478474184</c:v>
                </c:pt>
                <c:pt idx="688">
                  <c:v>13.120380405596729</c:v>
                </c:pt>
                <c:pt idx="689">
                  <c:v>14.941017841899463</c:v>
                </c:pt>
                <c:pt idx="690">
                  <c:v>15.471030331119549</c:v>
                </c:pt>
                <c:pt idx="691">
                  <c:v>13.734280411746683</c:v>
                </c:pt>
                <c:pt idx="692">
                  <c:v>15.850932546686774</c:v>
                </c:pt>
                <c:pt idx="693">
                  <c:v>16.487131793635069</c:v>
                </c:pt>
                <c:pt idx="694">
                  <c:v>13.070734457975075</c:v>
                </c:pt>
                <c:pt idx="695">
                  <c:v>14.359558887115039</c:v>
                </c:pt>
                <c:pt idx="696">
                  <c:v>16.604703448298768</c:v>
                </c:pt>
                <c:pt idx="697">
                  <c:v>15.91065119925687</c:v>
                </c:pt>
                <c:pt idx="698">
                  <c:v>15.763551974893918</c:v>
                </c:pt>
                <c:pt idx="699">
                  <c:v>11.988811284121576</c:v>
                </c:pt>
                <c:pt idx="700">
                  <c:v>12.277224186578092</c:v>
                </c:pt>
                <c:pt idx="701">
                  <c:v>18.032052503679775</c:v>
                </c:pt>
                <c:pt idx="702">
                  <c:v>12.51224355114155</c:v>
                </c:pt>
                <c:pt idx="703">
                  <c:v>15.790225178689914</c:v>
                </c:pt>
                <c:pt idx="704">
                  <c:v>17.23815334845742</c:v>
                </c:pt>
                <c:pt idx="705">
                  <c:v>18.472913513282602</c:v>
                </c:pt>
                <c:pt idx="706">
                  <c:v>13.749867611071988</c:v>
                </c:pt>
                <c:pt idx="707">
                  <c:v>14.245163054884713</c:v>
                </c:pt>
                <c:pt idx="708">
                  <c:v>14.1552197050953</c:v>
                </c:pt>
                <c:pt idx="709">
                  <c:v>16.899904121210618</c:v>
                </c:pt>
                <c:pt idx="710">
                  <c:v>15.726842809536892</c:v>
                </c:pt>
                <c:pt idx="711">
                  <c:v>17.196092777978212</c:v>
                </c:pt>
                <c:pt idx="712">
                  <c:v>14.080786369064146</c:v>
                </c:pt>
                <c:pt idx="713">
                  <c:v>14.753996775759903</c:v>
                </c:pt>
                <c:pt idx="714">
                  <c:v>17.753413576189736</c:v>
                </c:pt>
                <c:pt idx="715">
                  <c:v>13.537845045825605</c:v>
                </c:pt>
                <c:pt idx="716">
                  <c:v>16.815802561010951</c:v>
                </c:pt>
                <c:pt idx="717">
                  <c:v>15.413860677077544</c:v>
                </c:pt>
                <c:pt idx="718">
                  <c:v>16.516793966415165</c:v>
                </c:pt>
                <c:pt idx="719">
                  <c:v>14.765570809496664</c:v>
                </c:pt>
                <c:pt idx="720">
                  <c:v>12.992601493005823</c:v>
                </c:pt>
                <c:pt idx="721">
                  <c:v>12.992601493005823</c:v>
                </c:pt>
                <c:pt idx="722">
                  <c:v>6.2627836171147502</c:v>
                </c:pt>
                <c:pt idx="723">
                  <c:v>6.2746903656673174</c:v>
                </c:pt>
                <c:pt idx="724">
                  <c:v>8.3599628275382596</c:v>
                </c:pt>
                <c:pt idx="725">
                  <c:v>19.000616600654848</c:v>
                </c:pt>
                <c:pt idx="726">
                  <c:v>17.32528843810848</c:v>
                </c:pt>
                <c:pt idx="727">
                  <c:v>17.32528843810848</c:v>
                </c:pt>
                <c:pt idx="728">
                  <c:v>17.32528843810848</c:v>
                </c:pt>
                <c:pt idx="729">
                  <c:v>17.86144874210747</c:v>
                </c:pt>
                <c:pt idx="730">
                  <c:v>17.86144874210747</c:v>
                </c:pt>
                <c:pt idx="731">
                  <c:v>6.6097613427635746</c:v>
                </c:pt>
                <c:pt idx="732">
                  <c:v>5.5148072574863507</c:v>
                </c:pt>
                <c:pt idx="733">
                  <c:v>11.170830312229903</c:v>
                </c:pt>
                <c:pt idx="734">
                  <c:v>6.6097613427635746</c:v>
                </c:pt>
                <c:pt idx="735">
                  <c:v>6.6097613427635746</c:v>
                </c:pt>
                <c:pt idx="736">
                  <c:v>20.952537264960547</c:v>
                </c:pt>
                <c:pt idx="737">
                  <c:v>11.608583565281762</c:v>
                </c:pt>
                <c:pt idx="738">
                  <c:v>13.336044995815817</c:v>
                </c:pt>
                <c:pt idx="739">
                  <c:v>12.925200084325787</c:v>
                </c:pt>
                <c:pt idx="740">
                  <c:v>10.131500117187684</c:v>
                </c:pt>
                <c:pt idx="741">
                  <c:v>8.9190683735781509</c:v>
                </c:pt>
                <c:pt idx="742">
                  <c:v>16.99942148843747</c:v>
                </c:pt>
                <c:pt idx="743">
                  <c:v>16.99942148843747</c:v>
                </c:pt>
                <c:pt idx="744">
                  <c:v>8.8706780141455042</c:v>
                </c:pt>
                <c:pt idx="745">
                  <c:v>6.8528650205603991</c:v>
                </c:pt>
                <c:pt idx="746">
                  <c:v>9.4904168143612786</c:v>
                </c:pt>
                <c:pt idx="747">
                  <c:v>4.087594423431181</c:v>
                </c:pt>
                <c:pt idx="748">
                  <c:v>7.7729316343228891</c:v>
                </c:pt>
                <c:pt idx="749">
                  <c:v>7.2952541332174201</c:v>
                </c:pt>
                <c:pt idx="750">
                  <c:v>9.1487529002239789</c:v>
                </c:pt>
                <c:pt idx="751">
                  <c:v>9.473173157763858</c:v>
                </c:pt>
                <c:pt idx="752">
                  <c:v>17.065547503847647</c:v>
                </c:pt>
                <c:pt idx="753">
                  <c:v>13.663924929454097</c:v>
                </c:pt>
                <c:pt idx="754">
                  <c:v>4.8697925684801051</c:v>
                </c:pt>
                <c:pt idx="755">
                  <c:v>5.7858616684270316</c:v>
                </c:pt>
                <c:pt idx="756">
                  <c:v>22.285013021363643</c:v>
                </c:pt>
                <c:pt idx="757">
                  <c:v>7.2873695856893557</c:v>
                </c:pt>
                <c:pt idx="758">
                  <c:v>21.003659887735438</c:v>
                </c:pt>
                <c:pt idx="759">
                  <c:v>5.5211012546308238</c:v>
                </c:pt>
                <c:pt idx="760">
                  <c:v>13.625616633204917</c:v>
                </c:pt>
                <c:pt idx="761">
                  <c:v>12.53409385439949</c:v>
                </c:pt>
                <c:pt idx="762">
                  <c:v>14.779358040109329</c:v>
                </c:pt>
                <c:pt idx="763">
                  <c:v>24.723636105161987</c:v>
                </c:pt>
                <c:pt idx="764">
                  <c:v>5.402307595689499</c:v>
                </c:pt>
                <c:pt idx="765">
                  <c:v>4.9136820749423871</c:v>
                </c:pt>
                <c:pt idx="766">
                  <c:v>12.191264923849875</c:v>
                </c:pt>
                <c:pt idx="767">
                  <c:v>19.535094797804256</c:v>
                </c:pt>
                <c:pt idx="768">
                  <c:v>7.7220236232146684</c:v>
                </c:pt>
                <c:pt idx="769">
                  <c:v>23.218900701146303</c:v>
                </c:pt>
                <c:pt idx="770">
                  <c:v>5.7707431617144369</c:v>
                </c:pt>
                <c:pt idx="771">
                  <c:v>14.986628596929627</c:v>
                </c:pt>
                <c:pt idx="772">
                  <c:v>11.072296560391074</c:v>
                </c:pt>
                <c:pt idx="773">
                  <c:v>6.2773445612907377</c:v>
                </c:pt>
                <c:pt idx="774">
                  <c:v>20.147555660770568</c:v>
                </c:pt>
                <c:pt idx="775">
                  <c:v>6.4580365210388795</c:v>
                </c:pt>
                <c:pt idx="776">
                  <c:v>26.355996029029932</c:v>
                </c:pt>
                <c:pt idx="777">
                  <c:v>14.896247635220687</c:v>
                </c:pt>
                <c:pt idx="778">
                  <c:v>20.759660400589858</c:v>
                </c:pt>
                <c:pt idx="779">
                  <c:v>15.235918678284056</c:v>
                </c:pt>
                <c:pt idx="780">
                  <c:v>14.896247635220687</c:v>
                </c:pt>
                <c:pt idx="781">
                  <c:v>20.271830770756726</c:v>
                </c:pt>
                <c:pt idx="782">
                  <c:v>14.896247635220687</c:v>
                </c:pt>
                <c:pt idx="783">
                  <c:v>15.072336449000597</c:v>
                </c:pt>
                <c:pt idx="784">
                  <c:v>20.147555660770568</c:v>
                </c:pt>
                <c:pt idx="785">
                  <c:v>6.7331592034776246</c:v>
                </c:pt>
                <c:pt idx="786">
                  <c:v>4.5669043881354527</c:v>
                </c:pt>
                <c:pt idx="787">
                  <c:v>15.875645014227224</c:v>
                </c:pt>
                <c:pt idx="788">
                  <c:v>14.896247635220687</c:v>
                </c:pt>
                <c:pt idx="789">
                  <c:v>13.922982859847894</c:v>
                </c:pt>
                <c:pt idx="790">
                  <c:v>5.5651977759985636</c:v>
                </c:pt>
                <c:pt idx="791">
                  <c:v>8.9928219295358449</c:v>
                </c:pt>
                <c:pt idx="792">
                  <c:v>11.834605724964792</c:v>
                </c:pt>
                <c:pt idx="793">
                  <c:v>7.247031370069398</c:v>
                </c:pt>
                <c:pt idx="794">
                  <c:v>12.098499937239032</c:v>
                </c:pt>
                <c:pt idx="795">
                  <c:v>9.8147152452398636</c:v>
                </c:pt>
                <c:pt idx="796">
                  <c:v>14.639994404268805</c:v>
                </c:pt>
                <c:pt idx="797">
                  <c:v>5.6481528375096088</c:v>
                </c:pt>
                <c:pt idx="798">
                  <c:v>11.305478988414004</c:v>
                </c:pt>
                <c:pt idx="799">
                  <c:v>7.1576099995819948</c:v>
                </c:pt>
              </c:numCache>
            </c:numRef>
          </c:yVal>
          <c:smooth val="0"/>
          <c:extLst>
            <c:ext xmlns:c16="http://schemas.microsoft.com/office/drawing/2014/chart" uri="{C3380CC4-5D6E-409C-BE32-E72D297353CC}">
              <c16:uniqueId val="{00000001-E51D-BD4A-BB66-01C80AB67729}"/>
            </c:ext>
          </c:extLst>
        </c:ser>
        <c:dLbls>
          <c:showLegendKey val="0"/>
          <c:showVal val="0"/>
          <c:showCatName val="0"/>
          <c:showSerName val="0"/>
          <c:showPercent val="0"/>
          <c:showBubbleSize val="0"/>
        </c:dLbls>
        <c:axId val="1231866863"/>
        <c:axId val="1"/>
      </c:scatterChart>
      <c:valAx>
        <c:axId val="1231866863"/>
        <c:scaling>
          <c:orientation val="minMax"/>
        </c:scaling>
        <c:delete val="0"/>
        <c:axPos val="b"/>
        <c:majorGridlines>
          <c:spPr>
            <a:ln w="9525" cap="flat" cmpd="sng" algn="ctr">
              <a:solidFill>
                <a:schemeClr val="tx1">
                  <a:lumMod val="15000"/>
                  <a:lumOff val="85000"/>
                </a:schemeClr>
              </a:solidFill>
              <a:round/>
            </a:ln>
            <a:effectLst/>
          </c:spPr>
        </c:majorGridlines>
        <c:title>
          <c:tx>
            <c:rich>
              <a:bodyPr/>
              <a:lstStyle/>
              <a:p>
                <a:pPr>
                  <a:defRPr/>
                </a:pPr>
                <a:r>
                  <a:rPr lang="en-US"/>
                  <a:t>Schematron</a:t>
                </a:r>
                <a:r>
                  <a:rPr lang="en-US" baseline="0"/>
                  <a:t> Errors/Size (MB)</a:t>
                </a:r>
                <a:endParaRPr lang="en-US"/>
              </a:p>
            </c:rich>
          </c:tx>
          <c:overlay val="0"/>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0" vert="horz"/>
          <a:lstStyle/>
          <a:p>
            <a:pPr>
              <a:defRPr sz="900" b="0" i="0" u="none" strike="noStrike" baseline="0">
                <a:solidFill>
                  <a:srgbClr val="333333"/>
                </a:solidFill>
                <a:latin typeface="Calibri"/>
                <a:ea typeface="Calibri"/>
                <a:cs typeface="Calibri"/>
              </a:defRPr>
            </a:pPr>
            <a:endParaRPr lang="en-US"/>
          </a:p>
        </c:txPr>
        <c:crossAx val="1"/>
        <c:crosses val="autoZero"/>
        <c:crossBetween val="midCat"/>
      </c:valAx>
      <c:valAx>
        <c:axId val="1"/>
        <c:scaling>
          <c:orientation val="minMax"/>
        </c:scaling>
        <c:delete val="0"/>
        <c:axPos val="l"/>
        <c:majorGridlines>
          <c:spPr>
            <a:ln w="9525" cap="flat" cmpd="sng" algn="ctr">
              <a:solidFill>
                <a:schemeClr val="tx1">
                  <a:lumMod val="15000"/>
                  <a:lumOff val="85000"/>
                </a:schemeClr>
              </a:solidFill>
              <a:round/>
            </a:ln>
            <a:effectLst/>
          </c:spPr>
        </c:majorGridlines>
        <c:title>
          <c:tx>
            <c:rich>
              <a:bodyPr/>
              <a:lstStyle/>
              <a:p>
                <a:pPr>
                  <a:defRPr/>
                </a:pPr>
                <a:r>
                  <a:rPr lang="en-US"/>
                  <a:t>Syntax Errors/Size (MB)</a:t>
                </a:r>
              </a:p>
            </c:rich>
          </c:tx>
          <c:overlay val="0"/>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31866863"/>
        <c:crosses val="autoZero"/>
        <c:crossBetween val="midCat"/>
      </c:valAx>
      <c:spPr>
        <a:noFill/>
        <a:ln w="25400">
          <a:noFill/>
        </a:ln>
      </c:spPr>
    </c:plotArea>
    <c:plotVisOnly val="1"/>
    <c:dispBlanksAs val="gap"/>
    <c:showDLblsOverMax val="0"/>
  </c:chart>
  <c:spPr>
    <a:solidFill>
      <a:schemeClr val="bg1"/>
    </a:solidFill>
    <a:ln w="9525" cap="flat" cmpd="sng" algn="ctr">
      <a:solidFill>
        <a:schemeClr val="tx1">
          <a:lumMod val="15000"/>
          <a:lumOff val="85000"/>
        </a:schemeClr>
      </a:solidFill>
      <a:round/>
    </a:ln>
    <a:effectLst/>
  </c:spPr>
  <c:txPr>
    <a:bodyPr/>
    <a:lstStyle/>
    <a:p>
      <a:pPr>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Schematron</a:t>
            </a:r>
            <a:r>
              <a:rPr lang="en-US" baseline="0"/>
              <a:t> Errors/Size (MB) vs. Syntax Errors/Count (%)</a:t>
            </a:r>
            <a:endParaRPr lang="en-US"/>
          </a:p>
        </c:rich>
      </c:tx>
      <c:overlay val="0"/>
      <c:spPr>
        <a:noFill/>
        <a:ln w="25400">
          <a:noFill/>
        </a:ln>
      </c:spPr>
    </c:title>
    <c:autoTitleDeleted val="0"/>
    <c:plotArea>
      <c:layout/>
      <c:scatterChart>
        <c:scatterStyle val="lineMarker"/>
        <c:varyColors val="0"/>
        <c:ser>
          <c:idx val="0"/>
          <c:order val="0"/>
          <c:tx>
            <c:strRef>
              <c:f>'Schema Schematron vs Syntax Cmp'!$L$1</c:f>
              <c:strCache>
                <c:ptCount val="1"/>
                <c:pt idx="0">
                  <c:v>Syntax_Violations_Opportunity</c:v>
                </c:pt>
              </c:strCache>
            </c:strRef>
          </c:tx>
          <c:spPr>
            <a:ln w="19050">
              <a:noFill/>
            </a:ln>
          </c:spPr>
          <c:marker>
            <c:symbol val="circle"/>
            <c:size val="5"/>
            <c:spPr>
              <a:solidFill>
                <a:schemeClr val="accent1"/>
              </a:solidFill>
              <a:ln w="9525">
                <a:solidFill>
                  <a:schemeClr val="accent1"/>
                </a:solidFill>
              </a:ln>
              <a:effectLst/>
            </c:spPr>
          </c:marker>
          <c:trendline>
            <c:spPr>
              <a:ln w="19050" cap="rnd">
                <a:solidFill>
                  <a:schemeClr val="accent1"/>
                </a:solidFill>
                <a:prstDash val="sysDot"/>
              </a:ln>
              <a:effectLst/>
            </c:spPr>
            <c:trendlineType val="linear"/>
            <c:dispRSqr val="1"/>
            <c:dispEq val="1"/>
            <c:trendlineLbl>
              <c:layout>
                <c:manualLayout>
                  <c:x val="-1.5652449693788276E-2"/>
                  <c:y val="-0.24258311461067367"/>
                </c:manualLayout>
              </c:layout>
              <c:tx>
                <c:rich>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r>
                      <a:rPr lang="en-US" baseline="0" dirty="0"/>
                      <a:t>y = -0.0041x + 19.015</a:t>
                    </a:r>
                    <a:br>
                      <a:rPr lang="en-US" baseline="0" dirty="0"/>
                    </a:br>
                    <a:r>
                      <a:rPr lang="en-US" baseline="0" dirty="0">
                        <a:highlight>
                          <a:srgbClr val="00FF00"/>
                        </a:highlight>
                      </a:rPr>
                      <a:t>R² = 0.0076</a:t>
                    </a:r>
                    <a:endParaRPr lang="en-US" dirty="0">
                      <a:highlight>
                        <a:srgbClr val="00FF00"/>
                      </a:highlight>
                    </a:endParaRPr>
                  </a:p>
                </c:rich>
              </c:tx>
              <c:numFmt formatCode="General" sourceLinked="0"/>
              <c:spPr>
                <a:noFill/>
                <a:ln w="25400">
                  <a:noFill/>
                </a:ln>
              </c:spPr>
            </c:trendlineLbl>
          </c:trendline>
          <c:xVal>
            <c:numRef>
              <c:f>'Schema Schematron vs Syntax Cmp'!$H$2:$H$801</c:f>
              <c:numCache>
                <c:formatCode>General</c:formatCode>
                <c:ptCount val="800"/>
                <c:pt idx="0">
                  <c:v>30.900725240021384</c:v>
                </c:pt>
                <c:pt idx="1">
                  <c:v>115.69281730277419</c:v>
                </c:pt>
                <c:pt idx="2">
                  <c:v>39.706624766723579</c:v>
                </c:pt>
                <c:pt idx="3">
                  <c:v>72.625956516859119</c:v>
                </c:pt>
                <c:pt idx="4">
                  <c:v>51.331847561523354</c:v>
                </c:pt>
                <c:pt idx="5">
                  <c:v>68.057304250178646</c:v>
                </c:pt>
                <c:pt idx="6">
                  <c:v>51.364365971107546</c:v>
                </c:pt>
                <c:pt idx="7">
                  <c:v>41.017788047416566</c:v>
                </c:pt>
                <c:pt idx="8">
                  <c:v>31.349600292596268</c:v>
                </c:pt>
                <c:pt idx="9">
                  <c:v>128.5488669335586</c:v>
                </c:pt>
                <c:pt idx="10">
                  <c:v>31.164729836419799</c:v>
                </c:pt>
                <c:pt idx="11">
                  <c:v>64.716541548019677</c:v>
                </c:pt>
                <c:pt idx="12">
                  <c:v>44.57555962588949</c:v>
                </c:pt>
                <c:pt idx="13">
                  <c:v>232.22918909789516</c:v>
                </c:pt>
                <c:pt idx="14">
                  <c:v>69.621398833145349</c:v>
                </c:pt>
                <c:pt idx="15">
                  <c:v>44.57555962588949</c:v>
                </c:pt>
                <c:pt idx="16">
                  <c:v>41.151801513638077</c:v>
                </c:pt>
                <c:pt idx="17">
                  <c:v>43.36207877805662</c:v>
                </c:pt>
                <c:pt idx="18">
                  <c:v>112.9501061730998</c:v>
                </c:pt>
                <c:pt idx="19">
                  <c:v>93.689431246596428</c:v>
                </c:pt>
                <c:pt idx="20">
                  <c:v>31.21573585244322</c:v>
                </c:pt>
                <c:pt idx="21">
                  <c:v>48.966800509254725</c:v>
                </c:pt>
                <c:pt idx="22">
                  <c:v>76.334712447138202</c:v>
                </c:pt>
                <c:pt idx="23">
                  <c:v>39.643211100099109</c:v>
                </c:pt>
                <c:pt idx="24">
                  <c:v>100.62314476076847</c:v>
                </c:pt>
                <c:pt idx="25">
                  <c:v>26.933332307301626</c:v>
                </c:pt>
                <c:pt idx="26">
                  <c:v>38.531685889696632</c:v>
                </c:pt>
                <c:pt idx="27">
                  <c:v>9.44911650760654</c:v>
                </c:pt>
                <c:pt idx="28">
                  <c:v>70.787015483298347</c:v>
                </c:pt>
                <c:pt idx="29">
                  <c:v>74.964945369296061</c:v>
                </c:pt>
                <c:pt idx="30">
                  <c:v>8.9046005618802955</c:v>
                </c:pt>
                <c:pt idx="31">
                  <c:v>20.429913479316419</c:v>
                </c:pt>
                <c:pt idx="32">
                  <c:v>26.783698675737412</c:v>
                </c:pt>
                <c:pt idx="33">
                  <c:v>54.244771275742686</c:v>
                </c:pt>
                <c:pt idx="34">
                  <c:v>60.559081439852719</c:v>
                </c:pt>
                <c:pt idx="35">
                  <c:v>23.585925492061374</c:v>
                </c:pt>
                <c:pt idx="36">
                  <c:v>53.902253653225245</c:v>
                </c:pt>
                <c:pt idx="37">
                  <c:v>51.531339643059589</c:v>
                </c:pt>
                <c:pt idx="38">
                  <c:v>34.153005464480877</c:v>
                </c:pt>
                <c:pt idx="39">
                  <c:v>48.994790220639871</c:v>
                </c:pt>
                <c:pt idx="40">
                  <c:v>58.7986264640858</c:v>
                </c:pt>
                <c:pt idx="41">
                  <c:v>70.778504568162646</c:v>
                </c:pt>
                <c:pt idx="42">
                  <c:v>23.329105816582327</c:v>
                </c:pt>
                <c:pt idx="43">
                  <c:v>89.784741083252896</c:v>
                </c:pt>
                <c:pt idx="44">
                  <c:v>31.798018983417332</c:v>
                </c:pt>
                <c:pt idx="45">
                  <c:v>69.360860074664927</c:v>
                </c:pt>
                <c:pt idx="46">
                  <c:v>245.9698781503065</c:v>
                </c:pt>
                <c:pt idx="47">
                  <c:v>17.234247897421756</c:v>
                </c:pt>
                <c:pt idx="48">
                  <c:v>158.17779183802594</c:v>
                </c:pt>
                <c:pt idx="49">
                  <c:v>34.70685720731273</c:v>
                </c:pt>
                <c:pt idx="50">
                  <c:v>54.152406532946323</c:v>
                </c:pt>
                <c:pt idx="51">
                  <c:v>87.859307961517615</c:v>
                </c:pt>
                <c:pt idx="52">
                  <c:v>34.407453059126176</c:v>
                </c:pt>
                <c:pt idx="53">
                  <c:v>24.611033797661502</c:v>
                </c:pt>
                <c:pt idx="54">
                  <c:v>26.547078399211173</c:v>
                </c:pt>
                <c:pt idx="55">
                  <c:v>180.96272167933407</c:v>
                </c:pt>
                <c:pt idx="56">
                  <c:v>24.453764045630724</c:v>
                </c:pt>
                <c:pt idx="57">
                  <c:v>35.827454976831582</c:v>
                </c:pt>
                <c:pt idx="58">
                  <c:v>29.635208021727838</c:v>
                </c:pt>
                <c:pt idx="59">
                  <c:v>78.236698227248468</c:v>
                </c:pt>
                <c:pt idx="60">
                  <c:v>58.603397322661934</c:v>
                </c:pt>
                <c:pt idx="61">
                  <c:v>40.307140409923619</c:v>
                </c:pt>
                <c:pt idx="62">
                  <c:v>24.501225061253063</c:v>
                </c:pt>
                <c:pt idx="63">
                  <c:v>47.008575707311174</c:v>
                </c:pt>
                <c:pt idx="64">
                  <c:v>51.304978781726632</c:v>
                </c:pt>
                <c:pt idx="65">
                  <c:v>39.407055176445091</c:v>
                </c:pt>
                <c:pt idx="66">
                  <c:v>19.711036209173518</c:v>
                </c:pt>
                <c:pt idx="67">
                  <c:v>31.74619971534241</c:v>
                </c:pt>
                <c:pt idx="68">
                  <c:v>32.517757018028774</c:v>
                </c:pt>
                <c:pt idx="69">
                  <c:v>22.22723216979065</c:v>
                </c:pt>
                <c:pt idx="70">
                  <c:v>54.006830275593671</c:v>
                </c:pt>
                <c:pt idx="71">
                  <c:v>48.520498044250694</c:v>
                </c:pt>
                <c:pt idx="72">
                  <c:v>15.875787835971359</c:v>
                </c:pt>
                <c:pt idx="73">
                  <c:v>67.132116004296464</c:v>
                </c:pt>
                <c:pt idx="74">
                  <c:v>60.323766271258741</c:v>
                </c:pt>
                <c:pt idx="75">
                  <c:v>74.827895839568981</c:v>
                </c:pt>
                <c:pt idx="76">
                  <c:v>26.494901203457292</c:v>
                </c:pt>
                <c:pt idx="77">
                  <c:v>62.933982252617</c:v>
                </c:pt>
                <c:pt idx="78">
                  <c:v>12.288899744083663</c:v>
                </c:pt>
                <c:pt idx="79">
                  <c:v>151.74967373820147</c:v>
                </c:pt>
                <c:pt idx="80">
                  <c:v>53.973822695992446</c:v>
                </c:pt>
                <c:pt idx="81">
                  <c:v>36.220182489352773</c:v>
                </c:pt>
                <c:pt idx="82">
                  <c:v>7.297192769941403</c:v>
                </c:pt>
                <c:pt idx="83">
                  <c:v>64.882524464528345</c:v>
                </c:pt>
                <c:pt idx="84">
                  <c:v>92.661230541141578</c:v>
                </c:pt>
                <c:pt idx="85">
                  <c:v>86.717107117306568</c:v>
                </c:pt>
                <c:pt idx="86">
                  <c:v>107.39820184724907</c:v>
                </c:pt>
                <c:pt idx="87">
                  <c:v>108.10956904823038</c:v>
                </c:pt>
                <c:pt idx="88">
                  <c:v>31.409871337314534</c:v>
                </c:pt>
                <c:pt idx="89">
                  <c:v>13.68920708690251</c:v>
                </c:pt>
                <c:pt idx="90">
                  <c:v>38.205404007452991</c:v>
                </c:pt>
                <c:pt idx="91">
                  <c:v>68.051069710468866</c:v>
                </c:pt>
                <c:pt idx="92">
                  <c:v>30.748244554765417</c:v>
                </c:pt>
                <c:pt idx="93">
                  <c:v>25.667927603610195</c:v>
                </c:pt>
                <c:pt idx="94">
                  <c:v>84.596312902239205</c:v>
                </c:pt>
                <c:pt idx="95">
                  <c:v>56.703654550535781</c:v>
                </c:pt>
                <c:pt idx="96">
                  <c:v>95.66265521265808</c:v>
                </c:pt>
                <c:pt idx="97">
                  <c:v>64.201652451762328</c:v>
                </c:pt>
                <c:pt idx="98">
                  <c:v>84.880810912934194</c:v>
                </c:pt>
                <c:pt idx="99">
                  <c:v>47.380504214711216</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203.38090851448192</c:v>
                </c:pt>
                <c:pt idx="301">
                  <c:v>152.89433278851268</c:v>
                </c:pt>
                <c:pt idx="302">
                  <c:v>215.19150778360341</c:v>
                </c:pt>
                <c:pt idx="303">
                  <c:v>306.9328043319527</c:v>
                </c:pt>
                <c:pt idx="304">
                  <c:v>136.06128902709594</c:v>
                </c:pt>
                <c:pt idx="305">
                  <c:v>136.78453481221123</c:v>
                </c:pt>
                <c:pt idx="306">
                  <c:v>177.38529284154458</c:v>
                </c:pt>
                <c:pt idx="307">
                  <c:v>126.66768669688297</c:v>
                </c:pt>
                <c:pt idx="308">
                  <c:v>126.66768669688297</c:v>
                </c:pt>
                <c:pt idx="309">
                  <c:v>126.66768669688297</c:v>
                </c:pt>
                <c:pt idx="310">
                  <c:v>180.41014051268175</c:v>
                </c:pt>
                <c:pt idx="311">
                  <c:v>29.093742568446192</c:v>
                </c:pt>
                <c:pt idx="312">
                  <c:v>340.79014629634139</c:v>
                </c:pt>
                <c:pt idx="313">
                  <c:v>211.76750547702815</c:v>
                </c:pt>
                <c:pt idx="314">
                  <c:v>152.9422736174578</c:v>
                </c:pt>
                <c:pt idx="315">
                  <c:v>238.46558237088988</c:v>
                </c:pt>
                <c:pt idx="316">
                  <c:v>121.78218816226912</c:v>
                </c:pt>
                <c:pt idx="317">
                  <c:v>130.5906975507888</c:v>
                </c:pt>
                <c:pt idx="318">
                  <c:v>166.4880883718773</c:v>
                </c:pt>
                <c:pt idx="319">
                  <c:v>184.4971421149927</c:v>
                </c:pt>
                <c:pt idx="320">
                  <c:v>278.46023809582482</c:v>
                </c:pt>
                <c:pt idx="321">
                  <c:v>288.45271342222918</c:v>
                </c:pt>
                <c:pt idx="322">
                  <c:v>121.07861517310336</c:v>
                </c:pt>
                <c:pt idx="323">
                  <c:v>326.35288603275359</c:v>
                </c:pt>
                <c:pt idx="324">
                  <c:v>196.32722250829903</c:v>
                </c:pt>
                <c:pt idx="325">
                  <c:v>107.4735359987494</c:v>
                </c:pt>
                <c:pt idx="326">
                  <c:v>43.245680018661162</c:v>
                </c:pt>
                <c:pt idx="327">
                  <c:v>329.8535677644345</c:v>
                </c:pt>
                <c:pt idx="328">
                  <c:v>51.993644296921147</c:v>
                </c:pt>
                <c:pt idx="329">
                  <c:v>180.12905717154996</c:v>
                </c:pt>
                <c:pt idx="330">
                  <c:v>181.04979719992517</c:v>
                </c:pt>
                <c:pt idx="331">
                  <c:v>211.06331539694895</c:v>
                </c:pt>
                <c:pt idx="332">
                  <c:v>157.0777820617173</c:v>
                </c:pt>
                <c:pt idx="333">
                  <c:v>275.20399174388024</c:v>
                </c:pt>
                <c:pt idx="334">
                  <c:v>250.45680607117168</c:v>
                </c:pt>
                <c:pt idx="335">
                  <c:v>59.506171640087246</c:v>
                </c:pt>
                <c:pt idx="336">
                  <c:v>139.57221117275549</c:v>
                </c:pt>
                <c:pt idx="337">
                  <c:v>232.23917473626869</c:v>
                </c:pt>
                <c:pt idx="338">
                  <c:v>207.76558501594599</c:v>
                </c:pt>
                <c:pt idx="339">
                  <c:v>252.6270582526418</c:v>
                </c:pt>
                <c:pt idx="340">
                  <c:v>282.80664167113014</c:v>
                </c:pt>
                <c:pt idx="341">
                  <c:v>56.112702960840494</c:v>
                </c:pt>
                <c:pt idx="342">
                  <c:v>214.40019495187127</c:v>
                </c:pt>
                <c:pt idx="343">
                  <c:v>245.65560619359198</c:v>
                </c:pt>
                <c:pt idx="344">
                  <c:v>91.778760383258046</c:v>
                </c:pt>
                <c:pt idx="345">
                  <c:v>306.46530117970531</c:v>
                </c:pt>
                <c:pt idx="346">
                  <c:v>99.304649203598544</c:v>
                </c:pt>
                <c:pt idx="347">
                  <c:v>239.10237712829283</c:v>
                </c:pt>
                <c:pt idx="348">
                  <c:v>264.76179381410543</c:v>
                </c:pt>
                <c:pt idx="349">
                  <c:v>116.04740249145729</c:v>
                </c:pt>
                <c:pt idx="350">
                  <c:v>279.57557082999296</c:v>
                </c:pt>
                <c:pt idx="351">
                  <c:v>360.56481417656011</c:v>
                </c:pt>
                <c:pt idx="352">
                  <c:v>328.6888363752513</c:v>
                </c:pt>
                <c:pt idx="353">
                  <c:v>2.6118730525221552</c:v>
                </c:pt>
                <c:pt idx="354">
                  <c:v>331.67795199018053</c:v>
                </c:pt>
                <c:pt idx="355">
                  <c:v>331.67795199018053</c:v>
                </c:pt>
                <c:pt idx="356">
                  <c:v>331.67795199018053</c:v>
                </c:pt>
                <c:pt idx="357">
                  <c:v>362.49497116803002</c:v>
                </c:pt>
                <c:pt idx="358">
                  <c:v>83.154847393036135</c:v>
                </c:pt>
                <c:pt idx="359">
                  <c:v>106.97800644795858</c:v>
                </c:pt>
                <c:pt idx="360">
                  <c:v>72.25831314688395</c:v>
                </c:pt>
                <c:pt idx="361">
                  <c:v>155.39170363694282</c:v>
                </c:pt>
                <c:pt idx="362">
                  <c:v>172.79970310923494</c:v>
                </c:pt>
                <c:pt idx="363">
                  <c:v>253.84510241673556</c:v>
                </c:pt>
                <c:pt idx="364">
                  <c:v>344.91611287379794</c:v>
                </c:pt>
                <c:pt idx="365">
                  <c:v>299.86969298795611</c:v>
                </c:pt>
                <c:pt idx="366">
                  <c:v>262.08033806044318</c:v>
                </c:pt>
                <c:pt idx="367">
                  <c:v>261.15983456711569</c:v>
                </c:pt>
                <c:pt idx="368">
                  <c:v>167.46111803371639</c:v>
                </c:pt>
                <c:pt idx="369">
                  <c:v>279.46577237619505</c:v>
                </c:pt>
                <c:pt idx="370">
                  <c:v>216.51294247750764</c:v>
                </c:pt>
                <c:pt idx="371">
                  <c:v>273.30873554713406</c:v>
                </c:pt>
                <c:pt idx="372">
                  <c:v>277.46822650430636</c:v>
                </c:pt>
                <c:pt idx="373">
                  <c:v>425.71781096891641</c:v>
                </c:pt>
                <c:pt idx="374">
                  <c:v>261.01783840503674</c:v>
                </c:pt>
                <c:pt idx="375">
                  <c:v>82.957299190757382</c:v>
                </c:pt>
                <c:pt idx="376">
                  <c:v>424.75314500862612</c:v>
                </c:pt>
                <c:pt idx="377">
                  <c:v>329.64391589501759</c:v>
                </c:pt>
                <c:pt idx="378">
                  <c:v>329.64391589501759</c:v>
                </c:pt>
                <c:pt idx="379">
                  <c:v>329.64391589501759</c:v>
                </c:pt>
                <c:pt idx="380">
                  <c:v>329.64391589501759</c:v>
                </c:pt>
                <c:pt idx="381">
                  <c:v>329.64391589501759</c:v>
                </c:pt>
                <c:pt idx="382">
                  <c:v>329.64391589501759</c:v>
                </c:pt>
                <c:pt idx="383">
                  <c:v>329.64391589501759</c:v>
                </c:pt>
                <c:pt idx="384">
                  <c:v>329.64391589501759</c:v>
                </c:pt>
                <c:pt idx="385">
                  <c:v>329.64391589501759</c:v>
                </c:pt>
                <c:pt idx="386">
                  <c:v>279.39415583051488</c:v>
                </c:pt>
                <c:pt idx="387">
                  <c:v>178.24252866734003</c:v>
                </c:pt>
                <c:pt idx="388">
                  <c:v>148.81563282564966</c:v>
                </c:pt>
                <c:pt idx="389">
                  <c:v>175.58403918857948</c:v>
                </c:pt>
                <c:pt idx="390">
                  <c:v>299.0613796458104</c:v>
                </c:pt>
                <c:pt idx="391">
                  <c:v>113.80230263985405</c:v>
                </c:pt>
                <c:pt idx="392">
                  <c:v>112.98429999014392</c:v>
                </c:pt>
                <c:pt idx="393">
                  <c:v>317.17102382333098</c:v>
                </c:pt>
                <c:pt idx="394">
                  <c:v>317.17102382333098</c:v>
                </c:pt>
                <c:pt idx="395">
                  <c:v>263.43693716533039</c:v>
                </c:pt>
                <c:pt idx="396">
                  <c:v>302.3609969063308</c:v>
                </c:pt>
                <c:pt idx="397">
                  <c:v>364.04926800093608</c:v>
                </c:pt>
                <c:pt idx="398">
                  <c:v>364.04926800093608</c:v>
                </c:pt>
                <c:pt idx="399">
                  <c:v>176.61068283752738</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96.62359686269096</c:v>
                </c:pt>
                <c:pt idx="501">
                  <c:v>83.302095047690443</c:v>
                </c:pt>
                <c:pt idx="502">
                  <c:v>50.22398914374007</c:v>
                </c:pt>
                <c:pt idx="503">
                  <c:v>5.9840166914172244</c:v>
                </c:pt>
                <c:pt idx="504">
                  <c:v>9.1693300174319159</c:v>
                </c:pt>
                <c:pt idx="505">
                  <c:v>66.612984438031319</c:v>
                </c:pt>
                <c:pt idx="506">
                  <c:v>67.807291677053811</c:v>
                </c:pt>
                <c:pt idx="507">
                  <c:v>188.95218900095085</c:v>
                </c:pt>
                <c:pt idx="508">
                  <c:v>145.90953608762567</c:v>
                </c:pt>
                <c:pt idx="509">
                  <c:v>14.058215068599068</c:v>
                </c:pt>
                <c:pt idx="510">
                  <c:v>36.498718489439703</c:v>
                </c:pt>
                <c:pt idx="511">
                  <c:v>18.658566884579088</c:v>
                </c:pt>
                <c:pt idx="512">
                  <c:v>19.06478212967664</c:v>
                </c:pt>
                <c:pt idx="513">
                  <c:v>148.28937612541046</c:v>
                </c:pt>
                <c:pt idx="514">
                  <c:v>78.026849137556397</c:v>
                </c:pt>
                <c:pt idx="515">
                  <c:v>20.548427751728024</c:v>
                </c:pt>
                <c:pt idx="516">
                  <c:v>72.121131886827129</c:v>
                </c:pt>
                <c:pt idx="517">
                  <c:v>32.748834857859826</c:v>
                </c:pt>
                <c:pt idx="518">
                  <c:v>17.33360251398414</c:v>
                </c:pt>
                <c:pt idx="519">
                  <c:v>3.9154881047471375</c:v>
                </c:pt>
                <c:pt idx="520">
                  <c:v>5.8835354164317337</c:v>
                </c:pt>
                <c:pt idx="521">
                  <c:v>16.771356102257919</c:v>
                </c:pt>
                <c:pt idx="522">
                  <c:v>14.840362223561154</c:v>
                </c:pt>
                <c:pt idx="523">
                  <c:v>69.463739927757715</c:v>
                </c:pt>
                <c:pt idx="524">
                  <c:v>176.34127130300524</c:v>
                </c:pt>
                <c:pt idx="525">
                  <c:v>141.78679721854814</c:v>
                </c:pt>
                <c:pt idx="526">
                  <c:v>88.307671778045545</c:v>
                </c:pt>
                <c:pt idx="527">
                  <c:v>4.0502268633321821</c:v>
                </c:pt>
                <c:pt idx="528">
                  <c:v>66.631130063965898</c:v>
                </c:pt>
                <c:pt idx="529">
                  <c:v>19.698165017437802</c:v>
                </c:pt>
                <c:pt idx="530">
                  <c:v>176.23526232618795</c:v>
                </c:pt>
                <c:pt idx="531">
                  <c:v>138.60163726870238</c:v>
                </c:pt>
                <c:pt idx="532">
                  <c:v>16.04703385623262</c:v>
                </c:pt>
                <c:pt idx="533">
                  <c:v>92.5339067118922</c:v>
                </c:pt>
                <c:pt idx="534">
                  <c:v>42.190278154476694</c:v>
                </c:pt>
                <c:pt idx="535">
                  <c:v>108.66794427670311</c:v>
                </c:pt>
                <c:pt idx="536">
                  <c:v>6.9535710063903311</c:v>
                </c:pt>
                <c:pt idx="537">
                  <c:v>84.644909565983227</c:v>
                </c:pt>
                <c:pt idx="538">
                  <c:v>17.834707926933181</c:v>
                </c:pt>
                <c:pt idx="539">
                  <c:v>27.203564271443209</c:v>
                </c:pt>
                <c:pt idx="540">
                  <c:v>18.846327049240493</c:v>
                </c:pt>
                <c:pt idx="541">
                  <c:v>15.384362923275106</c:v>
                </c:pt>
                <c:pt idx="542">
                  <c:v>59.009114873450883</c:v>
                </c:pt>
                <c:pt idx="543">
                  <c:v>7.8994323270443978</c:v>
                </c:pt>
                <c:pt idx="544">
                  <c:v>20.129898233299482</c:v>
                </c:pt>
                <c:pt idx="545">
                  <c:v>5.9148731456872694</c:v>
                </c:pt>
                <c:pt idx="546">
                  <c:v>10.06885080178259</c:v>
                </c:pt>
                <c:pt idx="547">
                  <c:v>20.941844497829528</c:v>
                </c:pt>
                <c:pt idx="548">
                  <c:v>14.255152983247141</c:v>
                </c:pt>
                <c:pt idx="549">
                  <c:v>5.9091119491107271</c:v>
                </c:pt>
                <c:pt idx="550">
                  <c:v>7.9142491108835769</c:v>
                </c:pt>
                <c:pt idx="551">
                  <c:v>37.653064662202468</c:v>
                </c:pt>
                <c:pt idx="552">
                  <c:v>18.150394166059971</c:v>
                </c:pt>
                <c:pt idx="553">
                  <c:v>15.131278976399241</c:v>
                </c:pt>
                <c:pt idx="554">
                  <c:v>34.226752233547252</c:v>
                </c:pt>
                <c:pt idx="555">
                  <c:v>197.09372665829105</c:v>
                </c:pt>
                <c:pt idx="556">
                  <c:v>52.851329210929656</c:v>
                </c:pt>
                <c:pt idx="557">
                  <c:v>128.01318535809187</c:v>
                </c:pt>
                <c:pt idx="558">
                  <c:v>8.1157220811551927</c:v>
                </c:pt>
                <c:pt idx="559">
                  <c:v>11.080912825451447</c:v>
                </c:pt>
                <c:pt idx="560">
                  <c:v>14.213241258602817</c:v>
                </c:pt>
                <c:pt idx="561">
                  <c:v>14.136644808721098</c:v>
                </c:pt>
                <c:pt idx="562">
                  <c:v>14.719938451030691</c:v>
                </c:pt>
                <c:pt idx="563">
                  <c:v>72.29118890892515</c:v>
                </c:pt>
                <c:pt idx="564">
                  <c:v>9.9802391265294705</c:v>
                </c:pt>
                <c:pt idx="565">
                  <c:v>10.228755896877775</c:v>
                </c:pt>
                <c:pt idx="566">
                  <c:v>12.083910675732284</c:v>
                </c:pt>
                <c:pt idx="567">
                  <c:v>35.789809516408091</c:v>
                </c:pt>
                <c:pt idx="568">
                  <c:v>10.801437180314283</c:v>
                </c:pt>
                <c:pt idx="569">
                  <c:v>57.211744753887331</c:v>
                </c:pt>
                <c:pt idx="570">
                  <c:v>283.42761100254091</c:v>
                </c:pt>
                <c:pt idx="571">
                  <c:v>70.961680692426086</c:v>
                </c:pt>
                <c:pt idx="572">
                  <c:v>7.8879827568696941</c:v>
                </c:pt>
                <c:pt idx="573">
                  <c:v>8.9350156313134566</c:v>
                </c:pt>
                <c:pt idx="574">
                  <c:v>14.069291259452804</c:v>
                </c:pt>
                <c:pt idx="575">
                  <c:v>4.0168587561997704</c:v>
                </c:pt>
                <c:pt idx="576">
                  <c:v>37.659259024347705</c:v>
                </c:pt>
                <c:pt idx="577">
                  <c:v>52.073684263232479</c:v>
                </c:pt>
                <c:pt idx="578">
                  <c:v>166.91984489294413</c:v>
                </c:pt>
                <c:pt idx="579">
                  <c:v>54.856362677762554</c:v>
                </c:pt>
                <c:pt idx="580">
                  <c:v>88.225093650429869</c:v>
                </c:pt>
                <c:pt idx="581">
                  <c:v>175.62696831928983</c:v>
                </c:pt>
                <c:pt idx="582">
                  <c:v>148.48103897132336</c:v>
                </c:pt>
                <c:pt idx="583">
                  <c:v>149.45106623372354</c:v>
                </c:pt>
                <c:pt idx="584">
                  <c:v>77.990722065747164</c:v>
                </c:pt>
                <c:pt idx="585">
                  <c:v>21.997030400895881</c:v>
                </c:pt>
                <c:pt idx="586">
                  <c:v>43.989430806091661</c:v>
                </c:pt>
                <c:pt idx="587">
                  <c:v>14.246695784199193</c:v>
                </c:pt>
                <c:pt idx="588">
                  <c:v>10.077668591837289</c:v>
                </c:pt>
                <c:pt idx="589">
                  <c:v>13.189787857481297</c:v>
                </c:pt>
                <c:pt idx="590">
                  <c:v>115.93548651865228</c:v>
                </c:pt>
                <c:pt idx="591">
                  <c:v>45.963972069552291</c:v>
                </c:pt>
                <c:pt idx="592">
                  <c:v>83.68784434060953</c:v>
                </c:pt>
                <c:pt idx="593">
                  <c:v>10.008206729518205</c:v>
                </c:pt>
                <c:pt idx="594">
                  <c:v>14.316655792825719</c:v>
                </c:pt>
                <c:pt idx="595">
                  <c:v>139.81498152732277</c:v>
                </c:pt>
                <c:pt idx="596">
                  <c:v>8.980754243655845</c:v>
                </c:pt>
                <c:pt idx="597">
                  <c:v>13.183019864782779</c:v>
                </c:pt>
                <c:pt idx="598">
                  <c:v>145.91420636381798</c:v>
                </c:pt>
                <c:pt idx="599">
                  <c:v>147.44333261249926</c:v>
                </c:pt>
                <c:pt idx="600">
                  <c:v>0</c:v>
                </c:pt>
                <c:pt idx="601">
                  <c:v>0</c:v>
                </c:pt>
                <c:pt idx="602">
                  <c:v>0</c:v>
                </c:pt>
                <c:pt idx="603">
                  <c:v>3.7810185307718189</c:v>
                </c:pt>
                <c:pt idx="604">
                  <c:v>0</c:v>
                </c:pt>
                <c:pt idx="605">
                  <c:v>3.7810185307718189</c:v>
                </c:pt>
                <c:pt idx="606">
                  <c:v>3.7810185307718189</c:v>
                </c:pt>
                <c:pt idx="607">
                  <c:v>3.7810185307718189</c:v>
                </c:pt>
                <c:pt idx="608">
                  <c:v>3.7810185307718189</c:v>
                </c:pt>
                <c:pt idx="609">
                  <c:v>3.7810185307718189</c:v>
                </c:pt>
                <c:pt idx="610">
                  <c:v>3.7810185307718189</c:v>
                </c:pt>
                <c:pt idx="611">
                  <c:v>0</c:v>
                </c:pt>
                <c:pt idx="612">
                  <c:v>3.7810185307718189</c:v>
                </c:pt>
                <c:pt idx="613">
                  <c:v>3.7810185307718189</c:v>
                </c:pt>
                <c:pt idx="614">
                  <c:v>0</c:v>
                </c:pt>
                <c:pt idx="615">
                  <c:v>3.7810185307718189</c:v>
                </c:pt>
                <c:pt idx="616">
                  <c:v>3.7810185307718189</c:v>
                </c:pt>
                <c:pt idx="617">
                  <c:v>3.7810185307718189</c:v>
                </c:pt>
                <c:pt idx="618">
                  <c:v>3.7810185307718189</c:v>
                </c:pt>
                <c:pt idx="619">
                  <c:v>3.7810185307718189</c:v>
                </c:pt>
                <c:pt idx="620">
                  <c:v>0</c:v>
                </c:pt>
                <c:pt idx="621">
                  <c:v>0</c:v>
                </c:pt>
                <c:pt idx="622">
                  <c:v>3.7810185307718189</c:v>
                </c:pt>
                <c:pt idx="623">
                  <c:v>3.7810185307718189</c:v>
                </c:pt>
                <c:pt idx="624">
                  <c:v>3.7810185307718189</c:v>
                </c:pt>
                <c:pt idx="625">
                  <c:v>0</c:v>
                </c:pt>
                <c:pt idx="626">
                  <c:v>3.7810185307718189</c:v>
                </c:pt>
                <c:pt idx="627">
                  <c:v>3.7810185307718189</c:v>
                </c:pt>
                <c:pt idx="628">
                  <c:v>3.7810185307718189</c:v>
                </c:pt>
                <c:pt idx="629">
                  <c:v>3.7810185307718189</c:v>
                </c:pt>
                <c:pt idx="630">
                  <c:v>3.7810185307718189</c:v>
                </c:pt>
                <c:pt idx="631">
                  <c:v>3.7810185307718189</c:v>
                </c:pt>
                <c:pt idx="632">
                  <c:v>3.7810185307718189</c:v>
                </c:pt>
                <c:pt idx="633">
                  <c:v>3.7810185307718189</c:v>
                </c:pt>
                <c:pt idx="634">
                  <c:v>3.7810185307718189</c:v>
                </c:pt>
                <c:pt idx="635">
                  <c:v>3.7810185307718189</c:v>
                </c:pt>
                <c:pt idx="636">
                  <c:v>0</c:v>
                </c:pt>
                <c:pt idx="637">
                  <c:v>3.7810185307718189</c:v>
                </c:pt>
                <c:pt idx="638">
                  <c:v>3.7810185307718189</c:v>
                </c:pt>
                <c:pt idx="639">
                  <c:v>3.7810185307718189</c:v>
                </c:pt>
                <c:pt idx="640">
                  <c:v>3.7810185307718189</c:v>
                </c:pt>
                <c:pt idx="641">
                  <c:v>3.7810185307718189</c:v>
                </c:pt>
                <c:pt idx="642">
                  <c:v>3.7810185307718189</c:v>
                </c:pt>
                <c:pt idx="643">
                  <c:v>3.7810185307718189</c:v>
                </c:pt>
                <c:pt idx="644">
                  <c:v>3.7810185307718189</c:v>
                </c:pt>
                <c:pt idx="645">
                  <c:v>3.7810185307718189</c:v>
                </c:pt>
                <c:pt idx="646">
                  <c:v>0</c:v>
                </c:pt>
                <c:pt idx="647">
                  <c:v>3.7810185307718189</c:v>
                </c:pt>
                <c:pt idx="648">
                  <c:v>3.7810185307718189</c:v>
                </c:pt>
                <c:pt idx="649">
                  <c:v>3.7810185307718189</c:v>
                </c:pt>
                <c:pt idx="650">
                  <c:v>3.7810185307718189</c:v>
                </c:pt>
                <c:pt idx="651">
                  <c:v>3.7810185307718189</c:v>
                </c:pt>
                <c:pt idx="652">
                  <c:v>3.7810185307718189</c:v>
                </c:pt>
                <c:pt idx="653">
                  <c:v>3.7810185307718189</c:v>
                </c:pt>
                <c:pt idx="654">
                  <c:v>3.7810185307718189</c:v>
                </c:pt>
                <c:pt idx="655">
                  <c:v>0</c:v>
                </c:pt>
                <c:pt idx="656">
                  <c:v>3.7810185307718189</c:v>
                </c:pt>
                <c:pt idx="657">
                  <c:v>3.7810185307718189</c:v>
                </c:pt>
                <c:pt idx="658">
                  <c:v>3.7810185307718189</c:v>
                </c:pt>
                <c:pt idx="659">
                  <c:v>3.7810185307718189</c:v>
                </c:pt>
                <c:pt idx="660">
                  <c:v>0</c:v>
                </c:pt>
                <c:pt idx="661">
                  <c:v>3.7810185307718189</c:v>
                </c:pt>
                <c:pt idx="662">
                  <c:v>0</c:v>
                </c:pt>
                <c:pt idx="663">
                  <c:v>3.7810185307718189</c:v>
                </c:pt>
                <c:pt idx="664">
                  <c:v>3.7810185307718189</c:v>
                </c:pt>
                <c:pt idx="665">
                  <c:v>0</c:v>
                </c:pt>
                <c:pt idx="666">
                  <c:v>3.7810185307718189</c:v>
                </c:pt>
                <c:pt idx="667">
                  <c:v>3.7810185307718189</c:v>
                </c:pt>
                <c:pt idx="668">
                  <c:v>3.7810185307718189</c:v>
                </c:pt>
                <c:pt idx="669">
                  <c:v>0</c:v>
                </c:pt>
                <c:pt idx="670">
                  <c:v>3.7810185307718189</c:v>
                </c:pt>
                <c:pt idx="671">
                  <c:v>3.7810185307718189</c:v>
                </c:pt>
                <c:pt idx="672">
                  <c:v>3.7810185307718189</c:v>
                </c:pt>
                <c:pt idx="673">
                  <c:v>3.7810185307718189</c:v>
                </c:pt>
                <c:pt idx="674">
                  <c:v>0</c:v>
                </c:pt>
                <c:pt idx="675">
                  <c:v>3.7810185307718189</c:v>
                </c:pt>
                <c:pt idx="676">
                  <c:v>3.7810185307718189</c:v>
                </c:pt>
                <c:pt idx="677">
                  <c:v>3.7810185307718189</c:v>
                </c:pt>
                <c:pt idx="678">
                  <c:v>3.7810185307718189</c:v>
                </c:pt>
                <c:pt idx="679">
                  <c:v>3.7810185307718189</c:v>
                </c:pt>
                <c:pt idx="680">
                  <c:v>3.7810185307718189</c:v>
                </c:pt>
                <c:pt idx="681">
                  <c:v>0</c:v>
                </c:pt>
                <c:pt idx="682">
                  <c:v>3.7810185307718189</c:v>
                </c:pt>
                <c:pt idx="683">
                  <c:v>3.7810185307718189</c:v>
                </c:pt>
                <c:pt idx="684">
                  <c:v>3.7810185307718189</c:v>
                </c:pt>
                <c:pt idx="685">
                  <c:v>3.7810185307718189</c:v>
                </c:pt>
                <c:pt idx="686">
                  <c:v>3.7810185307718189</c:v>
                </c:pt>
                <c:pt idx="687">
                  <c:v>3.7810185307718189</c:v>
                </c:pt>
                <c:pt idx="688">
                  <c:v>3.7810185307718189</c:v>
                </c:pt>
                <c:pt idx="689">
                  <c:v>3.7810185307718189</c:v>
                </c:pt>
                <c:pt idx="690">
                  <c:v>0</c:v>
                </c:pt>
                <c:pt idx="691">
                  <c:v>3.7810185307718189</c:v>
                </c:pt>
                <c:pt idx="692">
                  <c:v>3.7810185307718189</c:v>
                </c:pt>
                <c:pt idx="693">
                  <c:v>0</c:v>
                </c:pt>
                <c:pt idx="694">
                  <c:v>3.7810185307718189</c:v>
                </c:pt>
                <c:pt idx="695">
                  <c:v>3.7810185307718189</c:v>
                </c:pt>
                <c:pt idx="696">
                  <c:v>0</c:v>
                </c:pt>
                <c:pt idx="697">
                  <c:v>3.7810185307718189</c:v>
                </c:pt>
                <c:pt idx="698">
                  <c:v>3.7810185307718189</c:v>
                </c:pt>
                <c:pt idx="699">
                  <c:v>3.7810185307718189</c:v>
                </c:pt>
                <c:pt idx="700">
                  <c:v>3.7810185307718189</c:v>
                </c:pt>
                <c:pt idx="701">
                  <c:v>3.7810185307718189</c:v>
                </c:pt>
                <c:pt idx="702">
                  <c:v>3.7810185307718189</c:v>
                </c:pt>
                <c:pt idx="703">
                  <c:v>3.7810185307718189</c:v>
                </c:pt>
                <c:pt idx="704">
                  <c:v>0</c:v>
                </c:pt>
                <c:pt idx="705">
                  <c:v>3.7810185307718189</c:v>
                </c:pt>
                <c:pt idx="706">
                  <c:v>0</c:v>
                </c:pt>
                <c:pt idx="707">
                  <c:v>0</c:v>
                </c:pt>
                <c:pt idx="708">
                  <c:v>3.7810185307718189</c:v>
                </c:pt>
                <c:pt idx="709">
                  <c:v>3.7810185307718189</c:v>
                </c:pt>
                <c:pt idx="710">
                  <c:v>3.7810185307718189</c:v>
                </c:pt>
                <c:pt idx="711">
                  <c:v>0</c:v>
                </c:pt>
                <c:pt idx="712">
                  <c:v>3.7810185307718189</c:v>
                </c:pt>
                <c:pt idx="713">
                  <c:v>3.7810185307718189</c:v>
                </c:pt>
                <c:pt idx="714">
                  <c:v>0</c:v>
                </c:pt>
                <c:pt idx="715">
                  <c:v>0</c:v>
                </c:pt>
                <c:pt idx="716">
                  <c:v>0</c:v>
                </c:pt>
                <c:pt idx="717">
                  <c:v>0</c:v>
                </c:pt>
                <c:pt idx="718">
                  <c:v>0</c:v>
                </c:pt>
                <c:pt idx="719">
                  <c:v>0</c:v>
                </c:pt>
                <c:pt idx="720">
                  <c:v>0</c:v>
                </c:pt>
                <c:pt idx="721">
                  <c:v>0</c:v>
                </c:pt>
                <c:pt idx="722">
                  <c:v>0</c:v>
                </c:pt>
                <c:pt idx="723">
                  <c:v>0</c:v>
                </c:pt>
                <c:pt idx="724">
                  <c:v>0</c:v>
                </c:pt>
                <c:pt idx="725">
                  <c:v>0</c:v>
                </c:pt>
                <c:pt idx="726">
                  <c:v>0</c:v>
                </c:pt>
                <c:pt idx="727">
                  <c:v>3.2788175272469737</c:v>
                </c:pt>
                <c:pt idx="728">
                  <c:v>0</c:v>
                </c:pt>
                <c:pt idx="729">
                  <c:v>0</c:v>
                </c:pt>
                <c:pt idx="730">
                  <c:v>0</c:v>
                </c:pt>
                <c:pt idx="731">
                  <c:v>0</c:v>
                </c:pt>
                <c:pt idx="732">
                  <c:v>0</c:v>
                </c:pt>
                <c:pt idx="733">
                  <c:v>0</c:v>
                </c:pt>
                <c:pt idx="734">
                  <c:v>0</c:v>
                </c:pt>
                <c:pt idx="735">
                  <c:v>0</c:v>
                </c:pt>
                <c:pt idx="736">
                  <c:v>0</c:v>
                </c:pt>
                <c:pt idx="737">
                  <c:v>0</c:v>
                </c:pt>
                <c:pt idx="738">
                  <c:v>0</c:v>
                </c:pt>
                <c:pt idx="739">
                  <c:v>0</c:v>
                </c:pt>
                <c:pt idx="740">
                  <c:v>0</c:v>
                </c:pt>
                <c:pt idx="741">
                  <c:v>1.1076012458298814</c:v>
                </c:pt>
                <c:pt idx="742">
                  <c:v>0</c:v>
                </c:pt>
                <c:pt idx="743">
                  <c:v>4.9446447025548981</c:v>
                </c:pt>
                <c:pt idx="744">
                  <c:v>0</c:v>
                </c:pt>
                <c:pt idx="745">
                  <c:v>0</c:v>
                </c:pt>
                <c:pt idx="746">
                  <c:v>3.0647583438045909</c:v>
                </c:pt>
                <c:pt idx="747">
                  <c:v>0</c:v>
                </c:pt>
                <c:pt idx="748">
                  <c:v>0</c:v>
                </c:pt>
                <c:pt idx="749">
                  <c:v>0</c:v>
                </c:pt>
                <c:pt idx="750">
                  <c:v>0</c:v>
                </c:pt>
                <c:pt idx="751">
                  <c:v>0</c:v>
                </c:pt>
                <c:pt idx="752">
                  <c:v>2.287421355594518</c:v>
                </c:pt>
                <c:pt idx="753">
                  <c:v>0</c:v>
                </c:pt>
                <c:pt idx="754">
                  <c:v>0</c:v>
                </c:pt>
                <c:pt idx="755">
                  <c:v>0</c:v>
                </c:pt>
                <c:pt idx="756">
                  <c:v>0</c:v>
                </c:pt>
                <c:pt idx="757">
                  <c:v>0</c:v>
                </c:pt>
                <c:pt idx="758">
                  <c:v>0</c:v>
                </c:pt>
                <c:pt idx="759">
                  <c:v>0</c:v>
                </c:pt>
                <c:pt idx="760">
                  <c:v>0</c:v>
                </c:pt>
                <c:pt idx="761">
                  <c:v>0</c:v>
                </c:pt>
                <c:pt idx="762">
                  <c:v>2.9005432717547999</c:v>
                </c:pt>
                <c:pt idx="763">
                  <c:v>0</c:v>
                </c:pt>
                <c:pt idx="764">
                  <c:v>0</c:v>
                </c:pt>
                <c:pt idx="765">
                  <c:v>0</c:v>
                </c:pt>
                <c:pt idx="766">
                  <c:v>0</c:v>
                </c:pt>
                <c:pt idx="767">
                  <c:v>2.0262295414135991</c:v>
                </c:pt>
                <c:pt idx="768">
                  <c:v>0</c:v>
                </c:pt>
                <c:pt idx="769">
                  <c:v>0</c:v>
                </c:pt>
                <c:pt idx="770">
                  <c:v>0</c:v>
                </c:pt>
                <c:pt idx="771">
                  <c:v>0</c:v>
                </c:pt>
                <c:pt idx="772">
                  <c:v>0</c:v>
                </c:pt>
                <c:pt idx="773">
                  <c:v>0</c:v>
                </c:pt>
                <c:pt idx="774">
                  <c:v>0</c:v>
                </c:pt>
                <c:pt idx="775">
                  <c:v>292.42143985548495</c:v>
                </c:pt>
                <c:pt idx="776">
                  <c:v>0</c:v>
                </c:pt>
                <c:pt idx="777">
                  <c:v>0</c:v>
                </c:pt>
                <c:pt idx="778">
                  <c:v>0</c:v>
                </c:pt>
                <c:pt idx="779">
                  <c:v>0</c:v>
                </c:pt>
                <c:pt idx="780">
                  <c:v>0</c:v>
                </c:pt>
                <c:pt idx="781">
                  <c:v>0</c:v>
                </c:pt>
                <c:pt idx="782">
                  <c:v>0</c:v>
                </c:pt>
                <c:pt idx="783">
                  <c:v>2.1797771177897061</c:v>
                </c:pt>
                <c:pt idx="784">
                  <c:v>0</c:v>
                </c:pt>
                <c:pt idx="785">
                  <c:v>0</c:v>
                </c:pt>
                <c:pt idx="786">
                  <c:v>0</c:v>
                </c:pt>
                <c:pt idx="787">
                  <c:v>0</c:v>
                </c:pt>
                <c:pt idx="788">
                  <c:v>1.2760717407532651</c:v>
                </c:pt>
                <c:pt idx="789">
                  <c:v>0</c:v>
                </c:pt>
                <c:pt idx="790">
                  <c:v>0</c:v>
                </c:pt>
                <c:pt idx="791">
                  <c:v>0</c:v>
                </c:pt>
                <c:pt idx="792">
                  <c:v>4.0039185015735397</c:v>
                </c:pt>
                <c:pt idx="793">
                  <c:v>0</c:v>
                </c:pt>
                <c:pt idx="794">
                  <c:v>0</c:v>
                </c:pt>
                <c:pt idx="795">
                  <c:v>0</c:v>
                </c:pt>
                <c:pt idx="796">
                  <c:v>0</c:v>
                </c:pt>
                <c:pt idx="797">
                  <c:v>0</c:v>
                </c:pt>
                <c:pt idx="798">
                  <c:v>0</c:v>
                </c:pt>
                <c:pt idx="799">
                  <c:v>0</c:v>
                </c:pt>
              </c:numCache>
            </c:numRef>
          </c:xVal>
          <c:yVal>
            <c:numRef>
              <c:f>'Schema Schematron vs Syntax Cmp'!$L$2:$L$801</c:f>
              <c:numCache>
                <c:formatCode>0.00</c:formatCode>
                <c:ptCount val="800"/>
                <c:pt idx="0">
                  <c:v>14.473684210526317</c:v>
                </c:pt>
                <c:pt idx="1">
                  <c:v>15.503875968992247</c:v>
                </c:pt>
                <c:pt idx="2">
                  <c:v>19.148936170212767</c:v>
                </c:pt>
                <c:pt idx="3">
                  <c:v>15.384615384615385</c:v>
                </c:pt>
                <c:pt idx="4">
                  <c:v>16.666666666666664</c:v>
                </c:pt>
                <c:pt idx="5">
                  <c:v>15.602836879432624</c:v>
                </c:pt>
                <c:pt idx="6">
                  <c:v>20.388349514563107</c:v>
                </c:pt>
                <c:pt idx="7">
                  <c:v>16.564417177914109</c:v>
                </c:pt>
                <c:pt idx="8">
                  <c:v>19.852941176470587</c:v>
                </c:pt>
                <c:pt idx="9">
                  <c:v>13.333333333333334</c:v>
                </c:pt>
                <c:pt idx="10">
                  <c:v>12.903225806451612</c:v>
                </c:pt>
                <c:pt idx="11">
                  <c:v>12.903225806451612</c:v>
                </c:pt>
                <c:pt idx="12">
                  <c:v>12.903225806451612</c:v>
                </c:pt>
                <c:pt idx="13">
                  <c:v>12.903225806451612</c:v>
                </c:pt>
                <c:pt idx="14">
                  <c:v>12.903225806451612</c:v>
                </c:pt>
                <c:pt idx="15">
                  <c:v>12.903225806451612</c:v>
                </c:pt>
                <c:pt idx="16">
                  <c:v>12.903225806451612</c:v>
                </c:pt>
                <c:pt idx="17">
                  <c:v>12.903225806451612</c:v>
                </c:pt>
                <c:pt idx="18">
                  <c:v>12.903225806451612</c:v>
                </c:pt>
                <c:pt idx="19">
                  <c:v>12.903225806451612</c:v>
                </c:pt>
                <c:pt idx="20">
                  <c:v>12.903225806451612</c:v>
                </c:pt>
                <c:pt idx="21">
                  <c:v>12.903225806451612</c:v>
                </c:pt>
                <c:pt idx="22">
                  <c:v>12.903225806451612</c:v>
                </c:pt>
                <c:pt idx="23">
                  <c:v>12.903225806451612</c:v>
                </c:pt>
                <c:pt idx="24">
                  <c:v>12.903225806451612</c:v>
                </c:pt>
                <c:pt idx="25">
                  <c:v>12.903225806451612</c:v>
                </c:pt>
                <c:pt idx="26">
                  <c:v>12.903225806451612</c:v>
                </c:pt>
                <c:pt idx="27">
                  <c:v>12.903225806451612</c:v>
                </c:pt>
                <c:pt idx="28">
                  <c:v>12.903225806451612</c:v>
                </c:pt>
                <c:pt idx="29">
                  <c:v>12.903225806451612</c:v>
                </c:pt>
                <c:pt idx="30">
                  <c:v>12.903225806451612</c:v>
                </c:pt>
                <c:pt idx="31">
                  <c:v>12.903225806451612</c:v>
                </c:pt>
                <c:pt idx="32">
                  <c:v>12.903225806451612</c:v>
                </c:pt>
                <c:pt idx="33">
                  <c:v>12.903225806451612</c:v>
                </c:pt>
                <c:pt idx="34">
                  <c:v>12.903225806451612</c:v>
                </c:pt>
                <c:pt idx="35">
                  <c:v>12.903225806451612</c:v>
                </c:pt>
                <c:pt idx="36">
                  <c:v>12.903225806451612</c:v>
                </c:pt>
                <c:pt idx="37">
                  <c:v>12.903225806451612</c:v>
                </c:pt>
                <c:pt idx="38">
                  <c:v>12.903225806451612</c:v>
                </c:pt>
                <c:pt idx="39">
                  <c:v>12.903225806451612</c:v>
                </c:pt>
                <c:pt idx="40">
                  <c:v>12.903225806451612</c:v>
                </c:pt>
                <c:pt idx="41">
                  <c:v>12.903225806451612</c:v>
                </c:pt>
                <c:pt idx="42">
                  <c:v>12.903225806451612</c:v>
                </c:pt>
                <c:pt idx="43">
                  <c:v>12.903225806451612</c:v>
                </c:pt>
                <c:pt idx="44">
                  <c:v>12.903225806451612</c:v>
                </c:pt>
                <c:pt idx="45">
                  <c:v>12.903225806451612</c:v>
                </c:pt>
                <c:pt idx="46">
                  <c:v>12.903225806451612</c:v>
                </c:pt>
                <c:pt idx="47">
                  <c:v>12.903225806451612</c:v>
                </c:pt>
                <c:pt idx="48">
                  <c:v>12.903225806451612</c:v>
                </c:pt>
                <c:pt idx="49">
                  <c:v>12.903225806451612</c:v>
                </c:pt>
                <c:pt idx="50">
                  <c:v>12.903225806451612</c:v>
                </c:pt>
                <c:pt idx="51">
                  <c:v>12.903225806451612</c:v>
                </c:pt>
                <c:pt idx="52">
                  <c:v>12.903225806451612</c:v>
                </c:pt>
                <c:pt idx="53">
                  <c:v>12.903225806451612</c:v>
                </c:pt>
                <c:pt idx="54">
                  <c:v>12.903225806451612</c:v>
                </c:pt>
                <c:pt idx="55">
                  <c:v>12.903225806451612</c:v>
                </c:pt>
                <c:pt idx="56">
                  <c:v>12.903225806451612</c:v>
                </c:pt>
                <c:pt idx="57">
                  <c:v>12.903225806451612</c:v>
                </c:pt>
                <c:pt idx="58">
                  <c:v>12.903225806451612</c:v>
                </c:pt>
                <c:pt idx="59">
                  <c:v>12.903225806451612</c:v>
                </c:pt>
                <c:pt idx="60">
                  <c:v>12.903225806451612</c:v>
                </c:pt>
                <c:pt idx="61">
                  <c:v>12.903225806451612</c:v>
                </c:pt>
                <c:pt idx="62">
                  <c:v>12.903225806451612</c:v>
                </c:pt>
                <c:pt idx="63">
                  <c:v>12.903225806451612</c:v>
                </c:pt>
                <c:pt idx="64">
                  <c:v>12.903225806451612</c:v>
                </c:pt>
                <c:pt idx="65">
                  <c:v>12.903225806451612</c:v>
                </c:pt>
                <c:pt idx="66">
                  <c:v>12.903225806451612</c:v>
                </c:pt>
                <c:pt idx="67">
                  <c:v>12.903225806451612</c:v>
                </c:pt>
                <c:pt idx="68">
                  <c:v>12.903225806451612</c:v>
                </c:pt>
                <c:pt idx="69">
                  <c:v>12.903225806451612</c:v>
                </c:pt>
                <c:pt idx="70">
                  <c:v>16.969696969696972</c:v>
                </c:pt>
                <c:pt idx="71">
                  <c:v>16.129032258064516</c:v>
                </c:pt>
                <c:pt idx="72">
                  <c:v>16.129032258064516</c:v>
                </c:pt>
                <c:pt idx="73">
                  <c:v>16.969696969696972</c:v>
                </c:pt>
                <c:pt idx="74">
                  <c:v>17.073170731707318</c:v>
                </c:pt>
                <c:pt idx="75">
                  <c:v>15.822784810126583</c:v>
                </c:pt>
                <c:pt idx="76">
                  <c:v>17.682926829268293</c:v>
                </c:pt>
                <c:pt idx="77">
                  <c:v>16.463414634146343</c:v>
                </c:pt>
                <c:pt idx="78">
                  <c:v>15.483870967741936</c:v>
                </c:pt>
                <c:pt idx="79">
                  <c:v>17.901234567901234</c:v>
                </c:pt>
                <c:pt idx="80">
                  <c:v>15.942028985507244</c:v>
                </c:pt>
                <c:pt idx="81">
                  <c:v>12.903225806451612</c:v>
                </c:pt>
                <c:pt idx="82">
                  <c:v>12.903225806451612</c:v>
                </c:pt>
                <c:pt idx="83">
                  <c:v>12.903225806451612</c:v>
                </c:pt>
                <c:pt idx="84">
                  <c:v>12.903225806451612</c:v>
                </c:pt>
                <c:pt idx="85">
                  <c:v>12.903225806451612</c:v>
                </c:pt>
                <c:pt idx="86">
                  <c:v>12.903225806451612</c:v>
                </c:pt>
                <c:pt idx="87">
                  <c:v>12.903225806451612</c:v>
                </c:pt>
                <c:pt idx="88">
                  <c:v>12.903225806451612</c:v>
                </c:pt>
                <c:pt idx="89">
                  <c:v>12.903225806451612</c:v>
                </c:pt>
                <c:pt idx="90">
                  <c:v>12.903225806451612</c:v>
                </c:pt>
                <c:pt idx="91">
                  <c:v>12.903225806451612</c:v>
                </c:pt>
                <c:pt idx="92">
                  <c:v>12.903225806451612</c:v>
                </c:pt>
                <c:pt idx="93">
                  <c:v>12.903225806451612</c:v>
                </c:pt>
                <c:pt idx="94">
                  <c:v>12.903225806451612</c:v>
                </c:pt>
                <c:pt idx="95">
                  <c:v>12.903225806451612</c:v>
                </c:pt>
                <c:pt idx="96">
                  <c:v>12.903225806451612</c:v>
                </c:pt>
                <c:pt idx="97">
                  <c:v>12.903225806451612</c:v>
                </c:pt>
                <c:pt idx="98">
                  <c:v>12.903225806451612</c:v>
                </c:pt>
                <c:pt idx="99">
                  <c:v>12.903225806451612</c:v>
                </c:pt>
                <c:pt idx="100">
                  <c:v>12.903225806451612</c:v>
                </c:pt>
                <c:pt idx="101">
                  <c:v>12.903225806451612</c:v>
                </c:pt>
                <c:pt idx="102">
                  <c:v>12.903225806451612</c:v>
                </c:pt>
                <c:pt idx="103">
                  <c:v>12.903225806451612</c:v>
                </c:pt>
                <c:pt idx="104">
                  <c:v>12.903225806451612</c:v>
                </c:pt>
                <c:pt idx="105">
                  <c:v>12.903225806451612</c:v>
                </c:pt>
                <c:pt idx="106">
                  <c:v>12.903225806451612</c:v>
                </c:pt>
                <c:pt idx="107">
                  <c:v>12.903225806451612</c:v>
                </c:pt>
                <c:pt idx="108">
                  <c:v>12.903225806451612</c:v>
                </c:pt>
                <c:pt idx="109">
                  <c:v>12.903225806451612</c:v>
                </c:pt>
                <c:pt idx="110">
                  <c:v>15.757575757575756</c:v>
                </c:pt>
                <c:pt idx="111">
                  <c:v>16.969696969696972</c:v>
                </c:pt>
                <c:pt idx="112">
                  <c:v>14.285714285714285</c:v>
                </c:pt>
                <c:pt idx="113">
                  <c:v>19.333333333333332</c:v>
                </c:pt>
                <c:pt idx="114">
                  <c:v>18.125</c:v>
                </c:pt>
                <c:pt idx="115">
                  <c:v>17.886178861788618</c:v>
                </c:pt>
                <c:pt idx="116">
                  <c:v>22.155688622754489</c:v>
                </c:pt>
                <c:pt idx="117">
                  <c:v>19.35483870967742</c:v>
                </c:pt>
                <c:pt idx="118">
                  <c:v>14.37125748502994</c:v>
                </c:pt>
                <c:pt idx="119">
                  <c:v>21.301775147928996</c:v>
                </c:pt>
                <c:pt idx="120">
                  <c:v>15.333333333333332</c:v>
                </c:pt>
                <c:pt idx="121">
                  <c:v>17.857142857142858</c:v>
                </c:pt>
                <c:pt idx="122">
                  <c:v>24.342105263157894</c:v>
                </c:pt>
                <c:pt idx="123">
                  <c:v>18.390804597701148</c:v>
                </c:pt>
                <c:pt idx="124">
                  <c:v>14.619883040935672</c:v>
                </c:pt>
                <c:pt idx="125">
                  <c:v>16.528925619834713</c:v>
                </c:pt>
                <c:pt idx="126">
                  <c:v>17.088607594936708</c:v>
                </c:pt>
                <c:pt idx="127">
                  <c:v>18.023255813953487</c:v>
                </c:pt>
                <c:pt idx="128">
                  <c:v>20.134228187919462</c:v>
                </c:pt>
                <c:pt idx="129">
                  <c:v>20</c:v>
                </c:pt>
                <c:pt idx="130">
                  <c:v>21.052631578947366</c:v>
                </c:pt>
                <c:pt idx="131">
                  <c:v>19.25925925925926</c:v>
                </c:pt>
                <c:pt idx="132">
                  <c:v>20.512820512820511</c:v>
                </c:pt>
                <c:pt idx="133">
                  <c:v>17.687074829931973</c:v>
                </c:pt>
                <c:pt idx="134">
                  <c:v>20</c:v>
                </c:pt>
                <c:pt idx="135">
                  <c:v>19.411764705882355</c:v>
                </c:pt>
                <c:pt idx="136">
                  <c:v>20</c:v>
                </c:pt>
                <c:pt idx="137">
                  <c:v>13.114754098360656</c:v>
                </c:pt>
                <c:pt idx="138">
                  <c:v>19.298245614035086</c:v>
                </c:pt>
                <c:pt idx="139">
                  <c:v>25.165562913907287</c:v>
                </c:pt>
                <c:pt idx="140">
                  <c:v>19.205298013245034</c:v>
                </c:pt>
                <c:pt idx="141">
                  <c:v>15.151515151515152</c:v>
                </c:pt>
                <c:pt idx="142">
                  <c:v>16.923076923076923</c:v>
                </c:pt>
                <c:pt idx="143">
                  <c:v>16.176470588235293</c:v>
                </c:pt>
                <c:pt idx="144">
                  <c:v>22.058823529411764</c:v>
                </c:pt>
                <c:pt idx="145">
                  <c:v>17.687074829931973</c:v>
                </c:pt>
                <c:pt idx="146">
                  <c:v>20.571428571428569</c:v>
                </c:pt>
                <c:pt idx="147">
                  <c:v>15.789473684210526</c:v>
                </c:pt>
                <c:pt idx="148">
                  <c:v>18.012422360248447</c:v>
                </c:pt>
                <c:pt idx="149">
                  <c:v>14.482758620689657</c:v>
                </c:pt>
                <c:pt idx="150">
                  <c:v>21.686746987951807</c:v>
                </c:pt>
                <c:pt idx="151">
                  <c:v>15.833333333333332</c:v>
                </c:pt>
                <c:pt idx="152">
                  <c:v>15.789473684210526</c:v>
                </c:pt>
                <c:pt idx="153">
                  <c:v>14.792899408284024</c:v>
                </c:pt>
                <c:pt idx="154">
                  <c:v>17.46987951807229</c:v>
                </c:pt>
                <c:pt idx="155">
                  <c:v>15.697674418604651</c:v>
                </c:pt>
                <c:pt idx="156">
                  <c:v>15.294117647058824</c:v>
                </c:pt>
                <c:pt idx="157">
                  <c:v>17.6056338028169</c:v>
                </c:pt>
                <c:pt idx="158">
                  <c:v>15.573770491803279</c:v>
                </c:pt>
                <c:pt idx="159">
                  <c:v>17.177914110429448</c:v>
                </c:pt>
                <c:pt idx="160">
                  <c:v>15.942028985507244</c:v>
                </c:pt>
                <c:pt idx="161">
                  <c:v>14.457831325301203</c:v>
                </c:pt>
                <c:pt idx="162">
                  <c:v>15.151515151515152</c:v>
                </c:pt>
                <c:pt idx="163">
                  <c:v>16.233766233766232</c:v>
                </c:pt>
                <c:pt idx="164">
                  <c:v>17.532467532467532</c:v>
                </c:pt>
                <c:pt idx="165">
                  <c:v>19.230769230769234</c:v>
                </c:pt>
                <c:pt idx="166">
                  <c:v>17.341040462427745</c:v>
                </c:pt>
                <c:pt idx="167">
                  <c:v>19.075144508670519</c:v>
                </c:pt>
                <c:pt idx="168">
                  <c:v>15.384615384615385</c:v>
                </c:pt>
                <c:pt idx="169">
                  <c:v>18.181818181818183</c:v>
                </c:pt>
                <c:pt idx="170">
                  <c:v>17.575757575757574</c:v>
                </c:pt>
                <c:pt idx="171">
                  <c:v>15.24390243902439</c:v>
                </c:pt>
                <c:pt idx="172">
                  <c:v>17.037037037037038</c:v>
                </c:pt>
                <c:pt idx="173">
                  <c:v>20.23121387283237</c:v>
                </c:pt>
                <c:pt idx="174">
                  <c:v>19.745222929936308</c:v>
                </c:pt>
                <c:pt idx="175">
                  <c:v>11.29032258064516</c:v>
                </c:pt>
                <c:pt idx="176">
                  <c:v>15.972222222222221</c:v>
                </c:pt>
                <c:pt idx="177">
                  <c:v>16.025641025641026</c:v>
                </c:pt>
                <c:pt idx="178">
                  <c:v>17.682926829268293</c:v>
                </c:pt>
                <c:pt idx="179">
                  <c:v>15.584415584415584</c:v>
                </c:pt>
                <c:pt idx="180">
                  <c:v>14.935064935064934</c:v>
                </c:pt>
                <c:pt idx="181">
                  <c:v>18.70967741935484</c:v>
                </c:pt>
                <c:pt idx="182">
                  <c:v>17.532467532467532</c:v>
                </c:pt>
                <c:pt idx="183">
                  <c:v>15.384615384615385</c:v>
                </c:pt>
                <c:pt idx="184">
                  <c:v>18.787878787878785</c:v>
                </c:pt>
                <c:pt idx="185">
                  <c:v>17.575757575757574</c:v>
                </c:pt>
                <c:pt idx="186">
                  <c:v>18.902439024390244</c:v>
                </c:pt>
                <c:pt idx="187">
                  <c:v>24.358974358974358</c:v>
                </c:pt>
                <c:pt idx="188">
                  <c:v>16.666666666666664</c:v>
                </c:pt>
                <c:pt idx="189">
                  <c:v>18.75</c:v>
                </c:pt>
                <c:pt idx="190">
                  <c:v>24.358974358974358</c:v>
                </c:pt>
                <c:pt idx="191">
                  <c:v>16.867469879518072</c:v>
                </c:pt>
                <c:pt idx="192">
                  <c:v>15.909090909090908</c:v>
                </c:pt>
                <c:pt idx="193">
                  <c:v>17.073170731707318</c:v>
                </c:pt>
                <c:pt idx="194">
                  <c:v>16.463414634146343</c:v>
                </c:pt>
                <c:pt idx="195">
                  <c:v>15.24390243902439</c:v>
                </c:pt>
                <c:pt idx="196">
                  <c:v>14.942528735632186</c:v>
                </c:pt>
                <c:pt idx="197">
                  <c:v>15.517241379310345</c:v>
                </c:pt>
                <c:pt idx="198">
                  <c:v>14.788732394366196</c:v>
                </c:pt>
                <c:pt idx="199">
                  <c:v>11.875</c:v>
                </c:pt>
                <c:pt idx="200">
                  <c:v>12.418300653594772</c:v>
                </c:pt>
                <c:pt idx="201">
                  <c:v>19.014084507042252</c:v>
                </c:pt>
                <c:pt idx="202">
                  <c:v>23.333333333333332</c:v>
                </c:pt>
                <c:pt idx="203">
                  <c:v>18.34319526627219</c:v>
                </c:pt>
                <c:pt idx="204">
                  <c:v>20.863309352517987</c:v>
                </c:pt>
                <c:pt idx="205">
                  <c:v>16.417910447761194</c:v>
                </c:pt>
                <c:pt idx="206">
                  <c:v>16.788321167883211</c:v>
                </c:pt>
                <c:pt idx="207">
                  <c:v>16.822429906542055</c:v>
                </c:pt>
                <c:pt idx="208">
                  <c:v>16.93548387096774</c:v>
                </c:pt>
                <c:pt idx="209">
                  <c:v>17.647058823529413</c:v>
                </c:pt>
                <c:pt idx="210">
                  <c:v>17.241379310344829</c:v>
                </c:pt>
                <c:pt idx="211">
                  <c:v>17.21311475409836</c:v>
                </c:pt>
                <c:pt idx="212">
                  <c:v>16.666666666666664</c:v>
                </c:pt>
                <c:pt idx="213">
                  <c:v>14.285714285714285</c:v>
                </c:pt>
                <c:pt idx="214">
                  <c:v>16.923076923076923</c:v>
                </c:pt>
                <c:pt idx="215">
                  <c:v>17.741935483870968</c:v>
                </c:pt>
                <c:pt idx="216">
                  <c:v>16.783216783216783</c:v>
                </c:pt>
                <c:pt idx="217">
                  <c:v>17.6056338028169</c:v>
                </c:pt>
                <c:pt idx="218">
                  <c:v>17.058823529411764</c:v>
                </c:pt>
                <c:pt idx="219">
                  <c:v>13.26530612244898</c:v>
                </c:pt>
                <c:pt idx="220">
                  <c:v>14.049586776859504</c:v>
                </c:pt>
                <c:pt idx="221">
                  <c:v>17.058823529411764</c:v>
                </c:pt>
                <c:pt idx="222">
                  <c:v>12.030075187969924</c:v>
                </c:pt>
                <c:pt idx="223">
                  <c:v>15.441176470588236</c:v>
                </c:pt>
                <c:pt idx="224">
                  <c:v>14.473684210526317</c:v>
                </c:pt>
                <c:pt idx="225">
                  <c:v>12.413793103448276</c:v>
                </c:pt>
                <c:pt idx="226">
                  <c:v>19.526627218934912</c:v>
                </c:pt>
                <c:pt idx="227">
                  <c:v>19.047619047619047</c:v>
                </c:pt>
                <c:pt idx="228">
                  <c:v>11.842105263157894</c:v>
                </c:pt>
                <c:pt idx="229">
                  <c:v>20.652173913043477</c:v>
                </c:pt>
                <c:pt idx="230">
                  <c:v>21.637426900584796</c:v>
                </c:pt>
                <c:pt idx="231">
                  <c:v>14.117647058823529</c:v>
                </c:pt>
                <c:pt idx="232">
                  <c:v>16.091954022988507</c:v>
                </c:pt>
                <c:pt idx="233">
                  <c:v>17.449664429530202</c:v>
                </c:pt>
                <c:pt idx="234">
                  <c:v>18.518518518518519</c:v>
                </c:pt>
                <c:pt idx="235">
                  <c:v>19.075144508670519</c:v>
                </c:pt>
                <c:pt idx="236">
                  <c:v>15.730337078651685</c:v>
                </c:pt>
                <c:pt idx="237">
                  <c:v>18.452380952380953</c:v>
                </c:pt>
                <c:pt idx="238">
                  <c:v>18.902439024390244</c:v>
                </c:pt>
                <c:pt idx="239">
                  <c:v>14.102564102564102</c:v>
                </c:pt>
                <c:pt idx="240">
                  <c:v>17.763157894736842</c:v>
                </c:pt>
                <c:pt idx="241">
                  <c:v>18.75</c:v>
                </c:pt>
                <c:pt idx="242">
                  <c:v>16.560509554140125</c:v>
                </c:pt>
                <c:pt idx="243">
                  <c:v>17.361111111111111</c:v>
                </c:pt>
                <c:pt idx="244">
                  <c:v>17.931034482758619</c:v>
                </c:pt>
                <c:pt idx="245">
                  <c:v>15.286624203821656</c:v>
                </c:pt>
                <c:pt idx="246">
                  <c:v>15.584415584415584</c:v>
                </c:pt>
                <c:pt idx="247">
                  <c:v>15.131578947368421</c:v>
                </c:pt>
                <c:pt idx="248">
                  <c:v>15.384615384615385</c:v>
                </c:pt>
                <c:pt idx="249">
                  <c:v>15.172413793103448</c:v>
                </c:pt>
                <c:pt idx="250">
                  <c:v>20</c:v>
                </c:pt>
                <c:pt idx="251">
                  <c:v>16.901408450704224</c:v>
                </c:pt>
                <c:pt idx="252">
                  <c:v>15.573770491803279</c:v>
                </c:pt>
                <c:pt idx="253">
                  <c:v>21.167883211678831</c:v>
                </c:pt>
                <c:pt idx="254">
                  <c:v>17.730496453900709</c:v>
                </c:pt>
                <c:pt idx="255">
                  <c:v>17.857142857142858</c:v>
                </c:pt>
                <c:pt idx="256">
                  <c:v>18.562874251497004</c:v>
                </c:pt>
                <c:pt idx="257">
                  <c:v>19.463087248322147</c:v>
                </c:pt>
                <c:pt idx="258">
                  <c:v>19.014084507042252</c:v>
                </c:pt>
                <c:pt idx="259">
                  <c:v>20.97902097902098</c:v>
                </c:pt>
                <c:pt idx="260">
                  <c:v>17.6056338028169</c:v>
                </c:pt>
                <c:pt idx="261">
                  <c:v>19.078947368421055</c:v>
                </c:pt>
                <c:pt idx="262">
                  <c:v>16.393442622950818</c:v>
                </c:pt>
                <c:pt idx="263">
                  <c:v>20.80536912751678</c:v>
                </c:pt>
                <c:pt idx="264">
                  <c:v>18.399999999999999</c:v>
                </c:pt>
                <c:pt idx="265">
                  <c:v>20.408163265306122</c:v>
                </c:pt>
                <c:pt idx="266">
                  <c:v>19.631901840490798</c:v>
                </c:pt>
                <c:pt idx="267">
                  <c:v>18.110236220472441</c:v>
                </c:pt>
                <c:pt idx="268">
                  <c:v>18.75</c:v>
                </c:pt>
                <c:pt idx="269">
                  <c:v>17.829457364341085</c:v>
                </c:pt>
                <c:pt idx="270">
                  <c:v>20.138888888888889</c:v>
                </c:pt>
                <c:pt idx="271">
                  <c:v>16.326530612244898</c:v>
                </c:pt>
                <c:pt idx="272">
                  <c:v>15</c:v>
                </c:pt>
                <c:pt idx="273">
                  <c:v>20.666666666666668</c:v>
                </c:pt>
                <c:pt idx="274">
                  <c:v>19.841269841269842</c:v>
                </c:pt>
                <c:pt idx="275">
                  <c:v>17.054263565891471</c:v>
                </c:pt>
                <c:pt idx="276">
                  <c:v>18.699186991869919</c:v>
                </c:pt>
                <c:pt idx="277">
                  <c:v>18.796992481203006</c:v>
                </c:pt>
                <c:pt idx="278">
                  <c:v>18.181818181818183</c:v>
                </c:pt>
                <c:pt idx="279">
                  <c:v>18.791946308724832</c:v>
                </c:pt>
                <c:pt idx="280">
                  <c:v>21.428571428571427</c:v>
                </c:pt>
                <c:pt idx="281">
                  <c:v>16</c:v>
                </c:pt>
                <c:pt idx="282">
                  <c:v>19.424460431654676</c:v>
                </c:pt>
                <c:pt idx="283">
                  <c:v>18.867924528301888</c:v>
                </c:pt>
                <c:pt idx="284">
                  <c:v>19.642857142857142</c:v>
                </c:pt>
                <c:pt idx="285">
                  <c:v>18.115942028985508</c:v>
                </c:pt>
                <c:pt idx="286">
                  <c:v>18.181818181818183</c:v>
                </c:pt>
                <c:pt idx="287">
                  <c:v>18.110236220472441</c:v>
                </c:pt>
                <c:pt idx="288">
                  <c:v>18.367346938775512</c:v>
                </c:pt>
                <c:pt idx="289">
                  <c:v>18.699186991869919</c:v>
                </c:pt>
                <c:pt idx="290">
                  <c:v>16.783216783216783</c:v>
                </c:pt>
                <c:pt idx="291">
                  <c:v>16.93548387096774</c:v>
                </c:pt>
                <c:pt idx="292">
                  <c:v>19.867549668874172</c:v>
                </c:pt>
                <c:pt idx="293">
                  <c:v>17.857142857142858</c:v>
                </c:pt>
                <c:pt idx="294">
                  <c:v>16.129032258064516</c:v>
                </c:pt>
                <c:pt idx="295">
                  <c:v>19.078947368421055</c:v>
                </c:pt>
                <c:pt idx="296">
                  <c:v>21.818181818181817</c:v>
                </c:pt>
                <c:pt idx="297">
                  <c:v>18.9873417721519</c:v>
                </c:pt>
                <c:pt idx="298">
                  <c:v>18</c:v>
                </c:pt>
                <c:pt idx="299">
                  <c:v>16.107382550335569</c:v>
                </c:pt>
                <c:pt idx="300">
                  <c:v>16.417910447761194</c:v>
                </c:pt>
                <c:pt idx="301">
                  <c:v>18.421052631578945</c:v>
                </c:pt>
                <c:pt idx="302">
                  <c:v>17.197452229299362</c:v>
                </c:pt>
                <c:pt idx="303">
                  <c:v>19.512195121951219</c:v>
                </c:pt>
                <c:pt idx="304">
                  <c:v>18.243243243243242</c:v>
                </c:pt>
                <c:pt idx="305">
                  <c:v>16.346153846153847</c:v>
                </c:pt>
                <c:pt idx="306">
                  <c:v>16.93548387096774</c:v>
                </c:pt>
                <c:pt idx="307">
                  <c:v>18.840579710144929</c:v>
                </c:pt>
                <c:pt idx="308">
                  <c:v>17.431192660550458</c:v>
                </c:pt>
                <c:pt idx="309">
                  <c:v>21.333333333333336</c:v>
                </c:pt>
                <c:pt idx="310">
                  <c:v>18.918918918918919</c:v>
                </c:pt>
                <c:pt idx="311">
                  <c:v>18.367346938775512</c:v>
                </c:pt>
                <c:pt idx="312">
                  <c:v>20.37037037037037</c:v>
                </c:pt>
                <c:pt idx="313">
                  <c:v>18.918918918918919</c:v>
                </c:pt>
                <c:pt idx="314">
                  <c:v>19.17808219178082</c:v>
                </c:pt>
                <c:pt idx="315">
                  <c:v>17.886178861788618</c:v>
                </c:pt>
                <c:pt idx="316">
                  <c:v>17.886178861788618</c:v>
                </c:pt>
                <c:pt idx="317">
                  <c:v>16.535433070866144</c:v>
                </c:pt>
                <c:pt idx="318">
                  <c:v>16.793893129770993</c:v>
                </c:pt>
                <c:pt idx="319">
                  <c:v>18.584070796460178</c:v>
                </c:pt>
                <c:pt idx="320">
                  <c:v>14.285714285714285</c:v>
                </c:pt>
                <c:pt idx="321">
                  <c:v>19.745222929936308</c:v>
                </c:pt>
                <c:pt idx="322">
                  <c:v>17.948717948717949</c:v>
                </c:pt>
                <c:pt idx="323">
                  <c:v>17.948717948717949</c:v>
                </c:pt>
                <c:pt idx="324">
                  <c:v>15.337423312883436</c:v>
                </c:pt>
                <c:pt idx="325">
                  <c:v>17.419354838709676</c:v>
                </c:pt>
                <c:pt idx="326">
                  <c:v>14.705882352941178</c:v>
                </c:pt>
                <c:pt idx="327">
                  <c:v>13.698630136986301</c:v>
                </c:pt>
                <c:pt idx="328">
                  <c:v>13.533834586466165</c:v>
                </c:pt>
                <c:pt idx="329">
                  <c:v>15.286624203821656</c:v>
                </c:pt>
                <c:pt idx="330">
                  <c:v>19.745222929936308</c:v>
                </c:pt>
                <c:pt idx="331">
                  <c:v>13.750000000000002</c:v>
                </c:pt>
                <c:pt idx="332">
                  <c:v>13.815789473684212</c:v>
                </c:pt>
                <c:pt idx="333">
                  <c:v>18.787878787878785</c:v>
                </c:pt>
                <c:pt idx="334">
                  <c:v>18.243243243243242</c:v>
                </c:pt>
                <c:pt idx="335">
                  <c:v>19.62025316455696</c:v>
                </c:pt>
                <c:pt idx="336">
                  <c:v>12.903225806451612</c:v>
                </c:pt>
                <c:pt idx="337">
                  <c:v>14.399999999999999</c:v>
                </c:pt>
                <c:pt idx="338">
                  <c:v>18.589743589743591</c:v>
                </c:pt>
                <c:pt idx="339">
                  <c:v>18.181818181818183</c:v>
                </c:pt>
                <c:pt idx="340">
                  <c:v>18.867924528301888</c:v>
                </c:pt>
                <c:pt idx="341">
                  <c:v>17.834394904458598</c:v>
                </c:pt>
                <c:pt idx="342">
                  <c:v>18.072289156626507</c:v>
                </c:pt>
                <c:pt idx="343">
                  <c:v>14.193548387096774</c:v>
                </c:pt>
                <c:pt idx="344">
                  <c:v>13.636363636363635</c:v>
                </c:pt>
                <c:pt idx="345">
                  <c:v>15.757575757575756</c:v>
                </c:pt>
                <c:pt idx="346">
                  <c:v>18.072289156626507</c:v>
                </c:pt>
                <c:pt idx="347">
                  <c:v>18.674698795180721</c:v>
                </c:pt>
                <c:pt idx="348">
                  <c:v>18.9873417721519</c:v>
                </c:pt>
                <c:pt idx="349">
                  <c:v>17.088607594936708</c:v>
                </c:pt>
                <c:pt idx="350">
                  <c:v>17.791411042944784</c:v>
                </c:pt>
                <c:pt idx="351">
                  <c:v>17.307692307692307</c:v>
                </c:pt>
                <c:pt idx="352">
                  <c:v>18.787878787878785</c:v>
                </c:pt>
                <c:pt idx="353">
                  <c:v>13.333333333333334</c:v>
                </c:pt>
                <c:pt idx="354">
                  <c:v>14.02439024390244</c:v>
                </c:pt>
                <c:pt idx="355">
                  <c:v>16.556291390728479</c:v>
                </c:pt>
                <c:pt idx="356">
                  <c:v>13.636363636363635</c:v>
                </c:pt>
                <c:pt idx="357">
                  <c:v>20</c:v>
                </c:pt>
                <c:pt idx="358">
                  <c:v>17.857142857142858</c:v>
                </c:pt>
                <c:pt idx="359">
                  <c:v>18.493150684931507</c:v>
                </c:pt>
                <c:pt idx="360">
                  <c:v>17.647058823529413</c:v>
                </c:pt>
                <c:pt idx="361">
                  <c:v>18.439716312056735</c:v>
                </c:pt>
                <c:pt idx="362">
                  <c:v>19.767441860465116</c:v>
                </c:pt>
                <c:pt idx="363">
                  <c:v>21.276595744680851</c:v>
                </c:pt>
                <c:pt idx="364">
                  <c:v>18.452380952380953</c:v>
                </c:pt>
                <c:pt idx="365">
                  <c:v>20.547945205479451</c:v>
                </c:pt>
                <c:pt idx="366">
                  <c:v>16.40625</c:v>
                </c:pt>
                <c:pt idx="367">
                  <c:v>17.741935483870968</c:v>
                </c:pt>
                <c:pt idx="368">
                  <c:v>21.637426900584796</c:v>
                </c:pt>
                <c:pt idx="369">
                  <c:v>15.492957746478872</c:v>
                </c:pt>
                <c:pt idx="370">
                  <c:v>23.837209302325583</c:v>
                </c:pt>
                <c:pt idx="371">
                  <c:v>24.418604651162788</c:v>
                </c:pt>
                <c:pt idx="372">
                  <c:v>21.052631578947366</c:v>
                </c:pt>
                <c:pt idx="373">
                  <c:v>22.485207100591715</c:v>
                </c:pt>
                <c:pt idx="374">
                  <c:v>22.485207100591715</c:v>
                </c:pt>
                <c:pt idx="375">
                  <c:v>19.277108433734941</c:v>
                </c:pt>
                <c:pt idx="376">
                  <c:v>19.277108433734941</c:v>
                </c:pt>
                <c:pt idx="377">
                  <c:v>19.277108433734941</c:v>
                </c:pt>
                <c:pt idx="378">
                  <c:v>19.879518072289155</c:v>
                </c:pt>
                <c:pt idx="379">
                  <c:v>19.277108433734941</c:v>
                </c:pt>
                <c:pt idx="380">
                  <c:v>19.277108433734941</c:v>
                </c:pt>
                <c:pt idx="381">
                  <c:v>19.879518072289155</c:v>
                </c:pt>
                <c:pt idx="382">
                  <c:v>19.277108433734941</c:v>
                </c:pt>
                <c:pt idx="383">
                  <c:v>19.277108433734941</c:v>
                </c:pt>
                <c:pt idx="384">
                  <c:v>23.287671232876711</c:v>
                </c:pt>
                <c:pt idx="385">
                  <c:v>19.88950276243094</c:v>
                </c:pt>
                <c:pt idx="386">
                  <c:v>19.125683060109289</c:v>
                </c:pt>
                <c:pt idx="387">
                  <c:v>22.807017543859647</c:v>
                </c:pt>
                <c:pt idx="388">
                  <c:v>19.767441860465116</c:v>
                </c:pt>
                <c:pt idx="389">
                  <c:v>18.784530386740332</c:v>
                </c:pt>
                <c:pt idx="390">
                  <c:v>18.784530386740332</c:v>
                </c:pt>
                <c:pt idx="391">
                  <c:v>18.232044198895029</c:v>
                </c:pt>
                <c:pt idx="392">
                  <c:v>19.45945945945946</c:v>
                </c:pt>
                <c:pt idx="393">
                  <c:v>21.084337349397593</c:v>
                </c:pt>
                <c:pt idx="394">
                  <c:v>20.670391061452513</c:v>
                </c:pt>
                <c:pt idx="395">
                  <c:v>19.45945945945946</c:v>
                </c:pt>
                <c:pt idx="396">
                  <c:v>17.222222222222221</c:v>
                </c:pt>
                <c:pt idx="397">
                  <c:v>21.808510638297875</c:v>
                </c:pt>
                <c:pt idx="398">
                  <c:v>19.148936170212767</c:v>
                </c:pt>
                <c:pt idx="399">
                  <c:v>21.98952879581152</c:v>
                </c:pt>
                <c:pt idx="400">
                  <c:v>27.439024390243905</c:v>
                </c:pt>
                <c:pt idx="401">
                  <c:v>20.43010752688172</c:v>
                </c:pt>
                <c:pt idx="402">
                  <c:v>23.711340206185564</c:v>
                </c:pt>
                <c:pt idx="403">
                  <c:v>23.195876288659793</c:v>
                </c:pt>
                <c:pt idx="404">
                  <c:v>22.674418604651162</c:v>
                </c:pt>
                <c:pt idx="405">
                  <c:v>24.418604651162788</c:v>
                </c:pt>
                <c:pt idx="406">
                  <c:v>22.680412371134022</c:v>
                </c:pt>
                <c:pt idx="407">
                  <c:v>18.656716417910449</c:v>
                </c:pt>
                <c:pt idx="408">
                  <c:v>22.994652406417114</c:v>
                </c:pt>
                <c:pt idx="409">
                  <c:v>21.621621621621621</c:v>
                </c:pt>
                <c:pt idx="410">
                  <c:v>19.298245614035086</c:v>
                </c:pt>
                <c:pt idx="411">
                  <c:v>17.318435754189945</c:v>
                </c:pt>
                <c:pt idx="412">
                  <c:v>17.777777777777779</c:v>
                </c:pt>
                <c:pt idx="413">
                  <c:v>20.652173913043477</c:v>
                </c:pt>
                <c:pt idx="414">
                  <c:v>17.948717948717949</c:v>
                </c:pt>
                <c:pt idx="415">
                  <c:v>19.318181818181817</c:v>
                </c:pt>
                <c:pt idx="416">
                  <c:v>14.97005988023952</c:v>
                </c:pt>
                <c:pt idx="417">
                  <c:v>19.230769230769234</c:v>
                </c:pt>
                <c:pt idx="418">
                  <c:v>21.084337349397593</c:v>
                </c:pt>
                <c:pt idx="419">
                  <c:v>22.099447513812155</c:v>
                </c:pt>
                <c:pt idx="420">
                  <c:v>21.666666666666668</c:v>
                </c:pt>
                <c:pt idx="421">
                  <c:v>20.555555555555554</c:v>
                </c:pt>
                <c:pt idx="422">
                  <c:v>19.270833333333336</c:v>
                </c:pt>
                <c:pt idx="423">
                  <c:v>23.391812865497073</c:v>
                </c:pt>
                <c:pt idx="424">
                  <c:v>20.114942528735632</c:v>
                </c:pt>
                <c:pt idx="425">
                  <c:v>21.465968586387437</c:v>
                </c:pt>
                <c:pt idx="426">
                  <c:v>19.277108433734941</c:v>
                </c:pt>
                <c:pt idx="427">
                  <c:v>21.714285714285715</c:v>
                </c:pt>
                <c:pt idx="428">
                  <c:v>24.607329842931939</c:v>
                </c:pt>
                <c:pt idx="429">
                  <c:v>25</c:v>
                </c:pt>
                <c:pt idx="430">
                  <c:v>21.511627906976745</c:v>
                </c:pt>
                <c:pt idx="431">
                  <c:v>22.651933701657459</c:v>
                </c:pt>
                <c:pt idx="432">
                  <c:v>23.076923076923077</c:v>
                </c:pt>
                <c:pt idx="433">
                  <c:v>23.626373626373624</c:v>
                </c:pt>
                <c:pt idx="434">
                  <c:v>20</c:v>
                </c:pt>
                <c:pt idx="435">
                  <c:v>22.994652406417114</c:v>
                </c:pt>
                <c:pt idx="436">
                  <c:v>21.556886227544911</c:v>
                </c:pt>
                <c:pt idx="437">
                  <c:v>22.099447513812155</c:v>
                </c:pt>
                <c:pt idx="438">
                  <c:v>21.875</c:v>
                </c:pt>
                <c:pt idx="439">
                  <c:v>19.879518072289155</c:v>
                </c:pt>
                <c:pt idx="440">
                  <c:v>23.316062176165804</c:v>
                </c:pt>
                <c:pt idx="441">
                  <c:v>22.941176470588236</c:v>
                </c:pt>
                <c:pt idx="442">
                  <c:v>18.421052631578945</c:v>
                </c:pt>
                <c:pt idx="443">
                  <c:v>23.493975903614459</c:v>
                </c:pt>
                <c:pt idx="444">
                  <c:v>22.513089005235599</c:v>
                </c:pt>
                <c:pt idx="445">
                  <c:v>21.649484536082475</c:v>
                </c:pt>
                <c:pt idx="446">
                  <c:v>21.761658031088082</c:v>
                </c:pt>
                <c:pt idx="447">
                  <c:v>22.807017543859647</c:v>
                </c:pt>
                <c:pt idx="448">
                  <c:v>24.705882352941178</c:v>
                </c:pt>
                <c:pt idx="449">
                  <c:v>19.411764705882355</c:v>
                </c:pt>
                <c:pt idx="450">
                  <c:v>23.280423280423278</c:v>
                </c:pt>
                <c:pt idx="451">
                  <c:v>23.214285714285715</c:v>
                </c:pt>
                <c:pt idx="452">
                  <c:v>22.58064516129032</c:v>
                </c:pt>
                <c:pt idx="453">
                  <c:v>22.043010752688172</c:v>
                </c:pt>
                <c:pt idx="454">
                  <c:v>14.835164835164836</c:v>
                </c:pt>
                <c:pt idx="455">
                  <c:v>25.531914893617021</c:v>
                </c:pt>
                <c:pt idx="456">
                  <c:v>22.916666666666664</c:v>
                </c:pt>
                <c:pt idx="457">
                  <c:v>21.052631578947366</c:v>
                </c:pt>
                <c:pt idx="458">
                  <c:v>23.560209424083769</c:v>
                </c:pt>
                <c:pt idx="459">
                  <c:v>23.560209424083769</c:v>
                </c:pt>
                <c:pt idx="460">
                  <c:v>23.560209424083769</c:v>
                </c:pt>
                <c:pt idx="461">
                  <c:v>22.043010752688172</c:v>
                </c:pt>
                <c:pt idx="462">
                  <c:v>20</c:v>
                </c:pt>
                <c:pt idx="463">
                  <c:v>18.674698795180721</c:v>
                </c:pt>
                <c:pt idx="464">
                  <c:v>20.118343195266274</c:v>
                </c:pt>
                <c:pt idx="465">
                  <c:v>20.666666666666668</c:v>
                </c:pt>
                <c:pt idx="466">
                  <c:v>21.276595744680851</c:v>
                </c:pt>
                <c:pt idx="467">
                  <c:v>20</c:v>
                </c:pt>
                <c:pt idx="468">
                  <c:v>14.736842105263156</c:v>
                </c:pt>
                <c:pt idx="469">
                  <c:v>14.150943396226415</c:v>
                </c:pt>
                <c:pt idx="470">
                  <c:v>13.084112149532709</c:v>
                </c:pt>
                <c:pt idx="471">
                  <c:v>17.886178861788618</c:v>
                </c:pt>
                <c:pt idx="472">
                  <c:v>13.445378151260504</c:v>
                </c:pt>
                <c:pt idx="473">
                  <c:v>13.725490196078432</c:v>
                </c:pt>
                <c:pt idx="474">
                  <c:v>16.417910447761194</c:v>
                </c:pt>
                <c:pt idx="475">
                  <c:v>13.888888888888889</c:v>
                </c:pt>
                <c:pt idx="476">
                  <c:v>15.929203539823009</c:v>
                </c:pt>
                <c:pt idx="477">
                  <c:v>14.736842105263156</c:v>
                </c:pt>
                <c:pt idx="478">
                  <c:v>13.580246913580247</c:v>
                </c:pt>
                <c:pt idx="479">
                  <c:v>13.888888888888889</c:v>
                </c:pt>
                <c:pt idx="480">
                  <c:v>23.966942148760332</c:v>
                </c:pt>
                <c:pt idx="481">
                  <c:v>17.857142857142858</c:v>
                </c:pt>
                <c:pt idx="482">
                  <c:v>22.448979591836736</c:v>
                </c:pt>
                <c:pt idx="483">
                  <c:v>22.033898305084744</c:v>
                </c:pt>
                <c:pt idx="484">
                  <c:v>22.164948453608247</c:v>
                </c:pt>
                <c:pt idx="485">
                  <c:v>23.316062176165804</c:v>
                </c:pt>
                <c:pt idx="486">
                  <c:v>20.441988950276244</c:v>
                </c:pt>
                <c:pt idx="487">
                  <c:v>19.897959183673468</c:v>
                </c:pt>
                <c:pt idx="488">
                  <c:v>21.59090909090909</c:v>
                </c:pt>
                <c:pt idx="489">
                  <c:v>20.987654320987652</c:v>
                </c:pt>
                <c:pt idx="490">
                  <c:v>22.699386503067483</c:v>
                </c:pt>
                <c:pt idx="491">
                  <c:v>26.373626373626376</c:v>
                </c:pt>
                <c:pt idx="492">
                  <c:v>21.195652173913043</c:v>
                </c:pt>
                <c:pt idx="493">
                  <c:v>19.767441860465116</c:v>
                </c:pt>
                <c:pt idx="494">
                  <c:v>19.251336898395721</c:v>
                </c:pt>
                <c:pt idx="495">
                  <c:v>23.717948717948715</c:v>
                </c:pt>
                <c:pt idx="496">
                  <c:v>21.693121693121693</c:v>
                </c:pt>
                <c:pt idx="497">
                  <c:v>20.710059171597635</c:v>
                </c:pt>
                <c:pt idx="498">
                  <c:v>23.369565217391305</c:v>
                </c:pt>
                <c:pt idx="499">
                  <c:v>19.895287958115183</c:v>
                </c:pt>
                <c:pt idx="500">
                  <c:v>24.175824175824175</c:v>
                </c:pt>
                <c:pt idx="501">
                  <c:v>22.15909090909091</c:v>
                </c:pt>
                <c:pt idx="502">
                  <c:v>22.560975609756099</c:v>
                </c:pt>
                <c:pt idx="503">
                  <c:v>20.918367346938776</c:v>
                </c:pt>
                <c:pt idx="504">
                  <c:v>18.994413407821227</c:v>
                </c:pt>
                <c:pt idx="505">
                  <c:v>18.918918918918919</c:v>
                </c:pt>
                <c:pt idx="506">
                  <c:v>21.761658031088082</c:v>
                </c:pt>
                <c:pt idx="507">
                  <c:v>22.680412371134022</c:v>
                </c:pt>
                <c:pt idx="508">
                  <c:v>23.589743589743588</c:v>
                </c:pt>
                <c:pt idx="509">
                  <c:v>18.974358974358974</c:v>
                </c:pt>
                <c:pt idx="510">
                  <c:v>19.689119170984455</c:v>
                </c:pt>
                <c:pt idx="511">
                  <c:v>20.689655172413794</c:v>
                </c:pt>
                <c:pt idx="512">
                  <c:v>22.448979591836736</c:v>
                </c:pt>
                <c:pt idx="513">
                  <c:v>18.556701030927837</c:v>
                </c:pt>
                <c:pt idx="514">
                  <c:v>22.346368715083798</c:v>
                </c:pt>
                <c:pt idx="515">
                  <c:v>20.670391061452513</c:v>
                </c:pt>
                <c:pt idx="516">
                  <c:v>22.857142857142858</c:v>
                </c:pt>
                <c:pt idx="517">
                  <c:v>24.36548223350254</c:v>
                </c:pt>
                <c:pt idx="518">
                  <c:v>24.615384615384617</c:v>
                </c:pt>
                <c:pt idx="519">
                  <c:v>20.809248554913296</c:v>
                </c:pt>
                <c:pt idx="520">
                  <c:v>20.625</c:v>
                </c:pt>
                <c:pt idx="521">
                  <c:v>20.967741935483872</c:v>
                </c:pt>
                <c:pt idx="522">
                  <c:v>20.33898305084746</c:v>
                </c:pt>
                <c:pt idx="523">
                  <c:v>22.905027932960895</c:v>
                </c:pt>
                <c:pt idx="524">
                  <c:v>21.468926553672315</c:v>
                </c:pt>
                <c:pt idx="525">
                  <c:v>20.94240837696335</c:v>
                </c:pt>
                <c:pt idx="526">
                  <c:v>20.21857923497268</c:v>
                </c:pt>
                <c:pt idx="527">
                  <c:v>22.15909090909091</c:v>
                </c:pt>
                <c:pt idx="528">
                  <c:v>20.94240837696335</c:v>
                </c:pt>
                <c:pt idx="529">
                  <c:v>19.875776397515526</c:v>
                </c:pt>
                <c:pt idx="530">
                  <c:v>24.431818181818183</c:v>
                </c:pt>
                <c:pt idx="531">
                  <c:v>19.553072625698324</c:v>
                </c:pt>
                <c:pt idx="532">
                  <c:v>24.431818181818183</c:v>
                </c:pt>
                <c:pt idx="533">
                  <c:v>21.195652173913043</c:v>
                </c:pt>
                <c:pt idx="534">
                  <c:v>21.951219512195124</c:v>
                </c:pt>
                <c:pt idx="535">
                  <c:v>20.418848167539267</c:v>
                </c:pt>
                <c:pt idx="536">
                  <c:v>21.761658031088082</c:v>
                </c:pt>
                <c:pt idx="537">
                  <c:v>22.777777777777779</c:v>
                </c:pt>
                <c:pt idx="538">
                  <c:v>21.118012422360248</c:v>
                </c:pt>
                <c:pt idx="539">
                  <c:v>21.052631578947366</c:v>
                </c:pt>
                <c:pt idx="540">
                  <c:v>21.59090909090909</c:v>
                </c:pt>
                <c:pt idx="541">
                  <c:v>22.75132275132275</c:v>
                </c:pt>
                <c:pt idx="542">
                  <c:v>18.390804597701148</c:v>
                </c:pt>
                <c:pt idx="543">
                  <c:v>15.972222222222221</c:v>
                </c:pt>
                <c:pt idx="544">
                  <c:v>20.472440944881889</c:v>
                </c:pt>
                <c:pt idx="545">
                  <c:v>20.714285714285715</c:v>
                </c:pt>
                <c:pt idx="546">
                  <c:v>16.666666666666664</c:v>
                </c:pt>
                <c:pt idx="547">
                  <c:v>10.92436974789916</c:v>
                </c:pt>
                <c:pt idx="548">
                  <c:v>15.602836879432624</c:v>
                </c:pt>
                <c:pt idx="549">
                  <c:v>14.678899082568808</c:v>
                </c:pt>
                <c:pt idx="550">
                  <c:v>14.414414414414415</c:v>
                </c:pt>
                <c:pt idx="551">
                  <c:v>10.619469026548673</c:v>
                </c:pt>
                <c:pt idx="552">
                  <c:v>13.475177304964539</c:v>
                </c:pt>
                <c:pt idx="553">
                  <c:v>12.949640287769784</c:v>
                </c:pt>
                <c:pt idx="554">
                  <c:v>12.096774193548388</c:v>
                </c:pt>
                <c:pt idx="555">
                  <c:v>19.858156028368796</c:v>
                </c:pt>
                <c:pt idx="556">
                  <c:v>19.858156028368796</c:v>
                </c:pt>
                <c:pt idx="557">
                  <c:v>13.793103448275861</c:v>
                </c:pt>
                <c:pt idx="558">
                  <c:v>15.384615384615385</c:v>
                </c:pt>
                <c:pt idx="559">
                  <c:v>17.391304347826086</c:v>
                </c:pt>
                <c:pt idx="560">
                  <c:v>17.801047120418847</c:v>
                </c:pt>
                <c:pt idx="561">
                  <c:v>18.848167539267017</c:v>
                </c:pt>
                <c:pt idx="562">
                  <c:v>21.387283236994222</c:v>
                </c:pt>
                <c:pt idx="563">
                  <c:v>19.689119170984455</c:v>
                </c:pt>
                <c:pt idx="564">
                  <c:v>18.32460732984293</c:v>
                </c:pt>
                <c:pt idx="565">
                  <c:v>22.222222222222221</c:v>
                </c:pt>
                <c:pt idx="566">
                  <c:v>22.222222222222221</c:v>
                </c:pt>
                <c:pt idx="567">
                  <c:v>20.114942528735632</c:v>
                </c:pt>
                <c:pt idx="568">
                  <c:v>21.311475409836063</c:v>
                </c:pt>
                <c:pt idx="569">
                  <c:v>20.108695652173914</c:v>
                </c:pt>
                <c:pt idx="570">
                  <c:v>21.875</c:v>
                </c:pt>
                <c:pt idx="571">
                  <c:v>20.207253886010363</c:v>
                </c:pt>
                <c:pt idx="572">
                  <c:v>18.974358974358974</c:v>
                </c:pt>
                <c:pt idx="573">
                  <c:v>20.3125</c:v>
                </c:pt>
                <c:pt idx="574">
                  <c:v>20.930232558139537</c:v>
                </c:pt>
                <c:pt idx="575">
                  <c:v>21.925133689839569</c:v>
                </c:pt>
                <c:pt idx="576">
                  <c:v>26.785714285714285</c:v>
                </c:pt>
                <c:pt idx="577">
                  <c:v>16.042780748663102</c:v>
                </c:pt>
                <c:pt idx="578">
                  <c:v>19.587628865979383</c:v>
                </c:pt>
                <c:pt idx="579">
                  <c:v>27.322404371584703</c:v>
                </c:pt>
                <c:pt idx="580">
                  <c:v>27.322404371584703</c:v>
                </c:pt>
                <c:pt idx="581">
                  <c:v>25.862068965517242</c:v>
                </c:pt>
                <c:pt idx="582">
                  <c:v>19.767441860465116</c:v>
                </c:pt>
                <c:pt idx="583">
                  <c:v>18.633540372670808</c:v>
                </c:pt>
                <c:pt idx="584">
                  <c:v>21.739130434782609</c:v>
                </c:pt>
                <c:pt idx="585">
                  <c:v>16.666666666666664</c:v>
                </c:pt>
                <c:pt idx="586">
                  <c:v>21.761658031088082</c:v>
                </c:pt>
                <c:pt idx="587">
                  <c:v>20.930232558139537</c:v>
                </c:pt>
                <c:pt idx="588">
                  <c:v>22.699386503067483</c:v>
                </c:pt>
                <c:pt idx="589">
                  <c:v>22.424242424242426</c:v>
                </c:pt>
                <c:pt idx="590">
                  <c:v>20</c:v>
                </c:pt>
                <c:pt idx="591">
                  <c:v>20.52980132450331</c:v>
                </c:pt>
                <c:pt idx="592">
                  <c:v>21.893491124260358</c:v>
                </c:pt>
                <c:pt idx="593">
                  <c:v>24.742268041237114</c:v>
                </c:pt>
                <c:pt idx="594">
                  <c:v>20.670391061452513</c:v>
                </c:pt>
                <c:pt idx="595">
                  <c:v>23.699421965317917</c:v>
                </c:pt>
                <c:pt idx="596">
                  <c:v>22.404371584699454</c:v>
                </c:pt>
                <c:pt idx="597">
                  <c:v>24.096385542168676</c:v>
                </c:pt>
                <c:pt idx="598">
                  <c:v>22.797927461139896</c:v>
                </c:pt>
                <c:pt idx="599">
                  <c:v>21.649484536082475</c:v>
                </c:pt>
                <c:pt idx="600">
                  <c:v>20</c:v>
                </c:pt>
                <c:pt idx="601">
                  <c:v>20.118343195266274</c:v>
                </c:pt>
                <c:pt idx="602">
                  <c:v>22.988505747126435</c:v>
                </c:pt>
                <c:pt idx="603">
                  <c:v>22.051282051282051</c:v>
                </c:pt>
                <c:pt idx="604">
                  <c:v>21.739130434782609</c:v>
                </c:pt>
                <c:pt idx="605">
                  <c:v>22.435897435897438</c:v>
                </c:pt>
                <c:pt idx="606">
                  <c:v>23.125</c:v>
                </c:pt>
                <c:pt idx="607">
                  <c:v>26.086956521739129</c:v>
                </c:pt>
                <c:pt idx="608">
                  <c:v>26.589595375722542</c:v>
                </c:pt>
                <c:pt idx="609">
                  <c:v>22.346368715083798</c:v>
                </c:pt>
                <c:pt idx="610">
                  <c:v>23.478260869565219</c:v>
                </c:pt>
                <c:pt idx="611">
                  <c:v>26.946107784431138</c:v>
                </c:pt>
                <c:pt idx="612">
                  <c:v>23.595505617977526</c:v>
                </c:pt>
                <c:pt idx="613">
                  <c:v>25.842696629213485</c:v>
                </c:pt>
                <c:pt idx="614">
                  <c:v>24.242424242424242</c:v>
                </c:pt>
                <c:pt idx="615">
                  <c:v>26.857142857142858</c:v>
                </c:pt>
                <c:pt idx="616">
                  <c:v>25.388601036269431</c:v>
                </c:pt>
                <c:pt idx="617">
                  <c:v>23.036649214659686</c:v>
                </c:pt>
                <c:pt idx="618">
                  <c:v>21.052631578947366</c:v>
                </c:pt>
                <c:pt idx="619">
                  <c:v>25.748502994011975</c:v>
                </c:pt>
                <c:pt idx="620">
                  <c:v>25.888324873096447</c:v>
                </c:pt>
                <c:pt idx="621">
                  <c:v>24.509803921568626</c:v>
                </c:pt>
                <c:pt idx="622">
                  <c:v>25.146198830409354</c:v>
                </c:pt>
                <c:pt idx="623">
                  <c:v>22.279792746113987</c:v>
                </c:pt>
                <c:pt idx="624">
                  <c:v>23.478260869565219</c:v>
                </c:pt>
                <c:pt idx="625">
                  <c:v>28.662420382165603</c:v>
                </c:pt>
                <c:pt idx="626">
                  <c:v>24.873096446700508</c:v>
                </c:pt>
                <c:pt idx="627">
                  <c:v>25.263157894736842</c:v>
                </c:pt>
                <c:pt idx="628">
                  <c:v>25.988700564971751</c:v>
                </c:pt>
                <c:pt idx="629">
                  <c:v>25</c:v>
                </c:pt>
                <c:pt idx="630">
                  <c:v>28.108108108108109</c:v>
                </c:pt>
                <c:pt idx="631">
                  <c:v>25.668449197860966</c:v>
                </c:pt>
                <c:pt idx="632">
                  <c:v>29.281767955801101</c:v>
                </c:pt>
                <c:pt idx="633">
                  <c:v>26.704545454545453</c:v>
                </c:pt>
                <c:pt idx="634">
                  <c:v>23.036649214659686</c:v>
                </c:pt>
                <c:pt idx="635">
                  <c:v>19.078947368421055</c:v>
                </c:pt>
                <c:pt idx="636">
                  <c:v>22.459893048128343</c:v>
                </c:pt>
                <c:pt idx="637">
                  <c:v>19.444444444444446</c:v>
                </c:pt>
                <c:pt idx="638">
                  <c:v>24.858757062146893</c:v>
                </c:pt>
                <c:pt idx="639">
                  <c:v>22.857142857142858</c:v>
                </c:pt>
                <c:pt idx="640">
                  <c:v>16.959064327485379</c:v>
                </c:pt>
                <c:pt idx="641">
                  <c:v>14.685314685314685</c:v>
                </c:pt>
                <c:pt idx="642">
                  <c:v>17.391304347826086</c:v>
                </c:pt>
                <c:pt idx="643">
                  <c:v>18.518518518518519</c:v>
                </c:pt>
                <c:pt idx="644">
                  <c:v>18.518518518518519</c:v>
                </c:pt>
                <c:pt idx="645">
                  <c:v>18.518518518518519</c:v>
                </c:pt>
                <c:pt idx="646">
                  <c:v>18.518518518518519</c:v>
                </c:pt>
                <c:pt idx="647">
                  <c:v>18.75</c:v>
                </c:pt>
                <c:pt idx="648">
                  <c:v>18.75</c:v>
                </c:pt>
                <c:pt idx="649">
                  <c:v>16.666666666666664</c:v>
                </c:pt>
                <c:pt idx="650">
                  <c:v>20.547945205479451</c:v>
                </c:pt>
                <c:pt idx="651">
                  <c:v>15.686274509803921</c:v>
                </c:pt>
                <c:pt idx="652">
                  <c:v>18.354430379746837</c:v>
                </c:pt>
                <c:pt idx="653">
                  <c:v>17.901234567901234</c:v>
                </c:pt>
                <c:pt idx="654">
                  <c:v>18.539325842696631</c:v>
                </c:pt>
                <c:pt idx="655">
                  <c:v>19.277108433734941</c:v>
                </c:pt>
                <c:pt idx="656">
                  <c:v>18.539325842696631</c:v>
                </c:pt>
                <c:pt idx="657">
                  <c:v>13.924050632911392</c:v>
                </c:pt>
                <c:pt idx="658">
                  <c:v>18.633540372670808</c:v>
                </c:pt>
                <c:pt idx="659">
                  <c:v>16.38418079096045</c:v>
                </c:pt>
                <c:pt idx="660">
                  <c:v>25.543478260869566</c:v>
                </c:pt>
                <c:pt idx="661">
                  <c:v>25.543478260869566</c:v>
                </c:pt>
                <c:pt idx="662">
                  <c:v>25.139664804469277</c:v>
                </c:pt>
                <c:pt idx="663">
                  <c:v>25.139664804469277</c:v>
                </c:pt>
                <c:pt idx="664">
                  <c:v>23.834196891191709</c:v>
                </c:pt>
                <c:pt idx="665">
                  <c:v>25.257731958762886</c:v>
                </c:pt>
                <c:pt idx="666">
                  <c:v>24.242424242424242</c:v>
                </c:pt>
                <c:pt idx="667">
                  <c:v>25.789473684210527</c:v>
                </c:pt>
                <c:pt idx="668">
                  <c:v>25.165562913907287</c:v>
                </c:pt>
                <c:pt idx="669">
                  <c:v>23.737373737373737</c:v>
                </c:pt>
                <c:pt idx="670">
                  <c:v>26.219512195121951</c:v>
                </c:pt>
                <c:pt idx="671">
                  <c:v>26.966292134831459</c:v>
                </c:pt>
                <c:pt idx="672">
                  <c:v>26.666666666666668</c:v>
                </c:pt>
                <c:pt idx="673">
                  <c:v>22.164948453608247</c:v>
                </c:pt>
                <c:pt idx="674">
                  <c:v>26.704545454545453</c:v>
                </c:pt>
                <c:pt idx="675">
                  <c:v>24.581005586592177</c:v>
                </c:pt>
                <c:pt idx="676">
                  <c:v>22.651933701657459</c:v>
                </c:pt>
                <c:pt idx="677">
                  <c:v>23.469387755102041</c:v>
                </c:pt>
                <c:pt idx="678">
                  <c:v>23.618090452261306</c:v>
                </c:pt>
                <c:pt idx="679">
                  <c:v>25.280898876404496</c:v>
                </c:pt>
                <c:pt idx="680">
                  <c:v>24.867724867724867</c:v>
                </c:pt>
                <c:pt idx="681">
                  <c:v>28.220858895705518</c:v>
                </c:pt>
                <c:pt idx="682">
                  <c:v>25</c:v>
                </c:pt>
                <c:pt idx="683">
                  <c:v>23.316062176165804</c:v>
                </c:pt>
                <c:pt idx="684">
                  <c:v>25.257731958762886</c:v>
                </c:pt>
                <c:pt idx="685">
                  <c:v>25.966850828729282</c:v>
                </c:pt>
                <c:pt idx="686">
                  <c:v>27.411167512690355</c:v>
                </c:pt>
                <c:pt idx="687">
                  <c:v>26.020408163265309</c:v>
                </c:pt>
                <c:pt idx="688">
                  <c:v>26.70807453416149</c:v>
                </c:pt>
                <c:pt idx="689">
                  <c:v>25</c:v>
                </c:pt>
                <c:pt idx="690">
                  <c:v>23.979591836734691</c:v>
                </c:pt>
                <c:pt idx="691">
                  <c:v>20.526315789473685</c:v>
                </c:pt>
                <c:pt idx="692">
                  <c:v>26.086956521739129</c:v>
                </c:pt>
                <c:pt idx="693">
                  <c:v>26.666666666666668</c:v>
                </c:pt>
                <c:pt idx="694">
                  <c:v>21.910112359550563</c:v>
                </c:pt>
                <c:pt idx="695">
                  <c:v>23.195876288659793</c:v>
                </c:pt>
                <c:pt idx="696">
                  <c:v>28.571428571428569</c:v>
                </c:pt>
                <c:pt idx="697">
                  <c:v>23.5</c:v>
                </c:pt>
                <c:pt idx="698">
                  <c:v>24.489795918367346</c:v>
                </c:pt>
                <c:pt idx="699">
                  <c:v>23.602484472049689</c:v>
                </c:pt>
                <c:pt idx="700">
                  <c:v>22.448979591836736</c:v>
                </c:pt>
                <c:pt idx="701">
                  <c:v>27.868852459016392</c:v>
                </c:pt>
                <c:pt idx="702">
                  <c:v>20.967741935483872</c:v>
                </c:pt>
                <c:pt idx="703">
                  <c:v>25.133689839572192</c:v>
                </c:pt>
                <c:pt idx="704">
                  <c:v>26.373626373626376</c:v>
                </c:pt>
                <c:pt idx="705">
                  <c:v>23.880597014925371</c:v>
                </c:pt>
                <c:pt idx="706">
                  <c:v>20.329670329670328</c:v>
                </c:pt>
                <c:pt idx="707">
                  <c:v>25.280898876404496</c:v>
                </c:pt>
                <c:pt idx="708">
                  <c:v>24.175824175824175</c:v>
                </c:pt>
                <c:pt idx="709">
                  <c:v>22.842639593908629</c:v>
                </c:pt>
                <c:pt idx="710">
                  <c:v>26.40449438202247</c:v>
                </c:pt>
                <c:pt idx="711">
                  <c:v>26.020408163265309</c:v>
                </c:pt>
                <c:pt idx="712">
                  <c:v>24.083769633507853</c:v>
                </c:pt>
                <c:pt idx="713">
                  <c:v>28.30188679245283</c:v>
                </c:pt>
                <c:pt idx="714">
                  <c:v>25.988700564971751</c:v>
                </c:pt>
                <c:pt idx="715">
                  <c:v>24.855491329479769</c:v>
                </c:pt>
                <c:pt idx="716">
                  <c:v>23.857868020304569</c:v>
                </c:pt>
                <c:pt idx="717">
                  <c:v>29.213483146067414</c:v>
                </c:pt>
                <c:pt idx="718">
                  <c:v>26.666666666666668</c:v>
                </c:pt>
                <c:pt idx="719">
                  <c:v>24.022346368715084</c:v>
                </c:pt>
                <c:pt idx="720">
                  <c:v>15.723270440251572</c:v>
                </c:pt>
                <c:pt idx="721">
                  <c:v>15.723270440251572</c:v>
                </c:pt>
                <c:pt idx="722">
                  <c:v>15.254237288135593</c:v>
                </c:pt>
                <c:pt idx="723">
                  <c:v>16.38418079096045</c:v>
                </c:pt>
                <c:pt idx="724">
                  <c:v>20.903954802259886</c:v>
                </c:pt>
                <c:pt idx="725">
                  <c:v>17.613636363636363</c:v>
                </c:pt>
                <c:pt idx="726">
                  <c:v>20.129870129870131</c:v>
                </c:pt>
                <c:pt idx="727">
                  <c:v>20.129870129870131</c:v>
                </c:pt>
                <c:pt idx="728">
                  <c:v>20.129870129870131</c:v>
                </c:pt>
                <c:pt idx="729">
                  <c:v>19.444444444444446</c:v>
                </c:pt>
                <c:pt idx="730">
                  <c:v>19.444444444444446</c:v>
                </c:pt>
                <c:pt idx="731">
                  <c:v>15.819209039548024</c:v>
                </c:pt>
                <c:pt idx="732">
                  <c:v>20.161290322580644</c:v>
                </c:pt>
                <c:pt idx="733">
                  <c:v>26.875</c:v>
                </c:pt>
                <c:pt idx="734">
                  <c:v>15.819209039548024</c:v>
                </c:pt>
                <c:pt idx="735">
                  <c:v>15.819209039548024</c:v>
                </c:pt>
                <c:pt idx="736">
                  <c:v>21.301775147928996</c:v>
                </c:pt>
                <c:pt idx="737">
                  <c:v>21.787709497206702</c:v>
                </c:pt>
                <c:pt idx="738">
                  <c:v>16.279069767441861</c:v>
                </c:pt>
                <c:pt idx="739">
                  <c:v>16.571428571428569</c:v>
                </c:pt>
                <c:pt idx="740">
                  <c:v>17.441860465116278</c:v>
                </c:pt>
                <c:pt idx="741">
                  <c:v>17.088607594936708</c:v>
                </c:pt>
                <c:pt idx="742">
                  <c:v>20.64516129032258</c:v>
                </c:pt>
                <c:pt idx="743">
                  <c:v>20.64516129032258</c:v>
                </c:pt>
                <c:pt idx="744">
                  <c:v>15.068493150684931</c:v>
                </c:pt>
                <c:pt idx="745">
                  <c:v>12.101910828025478</c:v>
                </c:pt>
                <c:pt idx="746">
                  <c:v>15.267175572519085</c:v>
                </c:pt>
                <c:pt idx="747">
                  <c:v>12.631578947368421</c:v>
                </c:pt>
                <c:pt idx="748">
                  <c:v>13.821138211382115</c:v>
                </c:pt>
                <c:pt idx="749">
                  <c:v>25</c:v>
                </c:pt>
                <c:pt idx="750">
                  <c:v>18.64406779661017</c:v>
                </c:pt>
                <c:pt idx="751">
                  <c:v>16.091954022988507</c:v>
                </c:pt>
                <c:pt idx="752">
                  <c:v>21.774193548387096</c:v>
                </c:pt>
                <c:pt idx="753">
                  <c:v>17.261904761904763</c:v>
                </c:pt>
                <c:pt idx="754">
                  <c:v>15.976331360946746</c:v>
                </c:pt>
                <c:pt idx="755">
                  <c:v>18.354430379746837</c:v>
                </c:pt>
                <c:pt idx="756">
                  <c:v>18.954248366013072</c:v>
                </c:pt>
                <c:pt idx="757">
                  <c:v>22.471910112359549</c:v>
                </c:pt>
                <c:pt idx="758">
                  <c:v>21.301775147928996</c:v>
                </c:pt>
                <c:pt idx="759">
                  <c:v>17.283950617283949</c:v>
                </c:pt>
                <c:pt idx="760">
                  <c:v>16.428571428571427</c:v>
                </c:pt>
                <c:pt idx="761">
                  <c:v>20.14388489208633</c:v>
                </c:pt>
                <c:pt idx="762">
                  <c:v>18.604651162790699</c:v>
                </c:pt>
                <c:pt idx="763">
                  <c:v>21.052631578947366</c:v>
                </c:pt>
                <c:pt idx="764">
                  <c:v>15.789473684210526</c:v>
                </c:pt>
                <c:pt idx="765">
                  <c:v>16.981132075471699</c:v>
                </c:pt>
                <c:pt idx="766">
                  <c:v>20.588235294117645</c:v>
                </c:pt>
                <c:pt idx="767">
                  <c:v>18.30985915492958</c:v>
                </c:pt>
                <c:pt idx="768">
                  <c:v>12.931034482758621</c:v>
                </c:pt>
                <c:pt idx="769">
                  <c:v>20.33898305084746</c:v>
                </c:pt>
                <c:pt idx="770">
                  <c:v>18.71345029239766</c:v>
                </c:pt>
                <c:pt idx="771">
                  <c:v>18.243243243243242</c:v>
                </c:pt>
                <c:pt idx="772">
                  <c:v>16.993464052287582</c:v>
                </c:pt>
                <c:pt idx="773">
                  <c:v>21.739130434782609</c:v>
                </c:pt>
                <c:pt idx="774">
                  <c:v>19.393939393939394</c:v>
                </c:pt>
                <c:pt idx="775">
                  <c:v>14.935064935064934</c:v>
                </c:pt>
                <c:pt idx="776">
                  <c:v>19.075144508670519</c:v>
                </c:pt>
                <c:pt idx="777">
                  <c:v>16.666666666666664</c:v>
                </c:pt>
                <c:pt idx="778">
                  <c:v>20.138888888888889</c:v>
                </c:pt>
                <c:pt idx="779">
                  <c:v>19.753086419753085</c:v>
                </c:pt>
                <c:pt idx="780">
                  <c:v>16.666666666666664</c:v>
                </c:pt>
                <c:pt idx="781">
                  <c:v>19.17808219178082</c:v>
                </c:pt>
                <c:pt idx="782">
                  <c:v>16.666666666666664</c:v>
                </c:pt>
                <c:pt idx="783">
                  <c:v>22.400000000000002</c:v>
                </c:pt>
                <c:pt idx="784">
                  <c:v>19.393939393939394</c:v>
                </c:pt>
                <c:pt idx="785">
                  <c:v>17.105263157894736</c:v>
                </c:pt>
                <c:pt idx="786">
                  <c:v>18.243243243243242</c:v>
                </c:pt>
                <c:pt idx="787">
                  <c:v>18.633540372670808</c:v>
                </c:pt>
                <c:pt idx="788">
                  <c:v>16.666666666666664</c:v>
                </c:pt>
                <c:pt idx="789">
                  <c:v>18.70967741935484</c:v>
                </c:pt>
                <c:pt idx="790">
                  <c:v>18.9873417721519</c:v>
                </c:pt>
                <c:pt idx="791">
                  <c:v>20.958083832335326</c:v>
                </c:pt>
                <c:pt idx="792">
                  <c:v>18.852459016393443</c:v>
                </c:pt>
                <c:pt idx="793">
                  <c:v>20</c:v>
                </c:pt>
                <c:pt idx="794">
                  <c:v>17.910447761194028</c:v>
                </c:pt>
                <c:pt idx="795">
                  <c:v>17.692307692307693</c:v>
                </c:pt>
                <c:pt idx="796">
                  <c:v>17.763157894736842</c:v>
                </c:pt>
                <c:pt idx="797">
                  <c:v>17.142857142857142</c:v>
                </c:pt>
                <c:pt idx="798">
                  <c:v>18.07909604519774</c:v>
                </c:pt>
                <c:pt idx="799">
                  <c:v>17.857142857142858</c:v>
                </c:pt>
              </c:numCache>
            </c:numRef>
          </c:yVal>
          <c:smooth val="0"/>
          <c:extLst>
            <c:ext xmlns:c16="http://schemas.microsoft.com/office/drawing/2014/chart" uri="{C3380CC4-5D6E-409C-BE32-E72D297353CC}">
              <c16:uniqueId val="{00000001-F181-DF44-9EEC-83FFEF903B53}"/>
            </c:ext>
          </c:extLst>
        </c:ser>
        <c:dLbls>
          <c:showLegendKey val="0"/>
          <c:showVal val="0"/>
          <c:showCatName val="0"/>
          <c:showSerName val="0"/>
          <c:showPercent val="0"/>
          <c:showBubbleSize val="0"/>
        </c:dLbls>
        <c:axId val="1231846527"/>
        <c:axId val="1"/>
      </c:scatterChart>
      <c:valAx>
        <c:axId val="1231846527"/>
        <c:scaling>
          <c:orientation val="minMax"/>
        </c:scaling>
        <c:delete val="0"/>
        <c:axPos val="b"/>
        <c:majorGridlines>
          <c:spPr>
            <a:ln w="9525" cap="flat" cmpd="sng" algn="ctr">
              <a:solidFill>
                <a:schemeClr val="tx1">
                  <a:lumMod val="15000"/>
                  <a:lumOff val="85000"/>
                </a:schemeClr>
              </a:solidFill>
              <a:round/>
            </a:ln>
            <a:effectLst/>
          </c:spPr>
        </c:majorGridlines>
        <c:title>
          <c:tx>
            <c:rich>
              <a:bodyPr/>
              <a:lstStyle/>
              <a:p>
                <a:pPr>
                  <a:defRPr/>
                </a:pPr>
                <a:r>
                  <a:rPr lang="en-US" dirty="0" err="1"/>
                  <a:t>Schematron</a:t>
                </a:r>
                <a:r>
                  <a:rPr lang="en-US" dirty="0"/>
                  <a:t> Errors/Count</a:t>
                </a:r>
                <a:r>
                  <a:rPr lang="en-US" baseline="0" dirty="0"/>
                  <a:t> (%)</a:t>
                </a:r>
                <a:endParaRPr lang="en-US" dirty="0"/>
              </a:p>
            </c:rich>
          </c:tx>
          <c:overlay val="0"/>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0" vert="horz"/>
          <a:lstStyle/>
          <a:p>
            <a:pPr>
              <a:defRPr sz="900" b="0" i="0" u="none" strike="noStrike" baseline="0">
                <a:solidFill>
                  <a:srgbClr val="333333"/>
                </a:solidFill>
                <a:latin typeface="Calibri"/>
                <a:ea typeface="Calibri"/>
                <a:cs typeface="Calibri"/>
              </a:defRPr>
            </a:pPr>
            <a:endParaRPr lang="en-US"/>
          </a:p>
        </c:txPr>
        <c:crossAx val="1"/>
        <c:crosses val="autoZero"/>
        <c:crossBetween val="midCat"/>
      </c:valAx>
      <c:valAx>
        <c:axId val="1"/>
        <c:scaling>
          <c:orientation val="minMax"/>
        </c:scaling>
        <c:delete val="0"/>
        <c:axPos val="l"/>
        <c:majorGridlines>
          <c:spPr>
            <a:ln w="9525" cap="flat" cmpd="sng" algn="ctr">
              <a:solidFill>
                <a:schemeClr val="tx1">
                  <a:lumMod val="15000"/>
                  <a:lumOff val="85000"/>
                </a:schemeClr>
              </a:solidFill>
              <a:round/>
            </a:ln>
            <a:effectLst/>
          </c:spPr>
        </c:majorGridlines>
        <c:title>
          <c:tx>
            <c:rich>
              <a:bodyPr/>
              <a:lstStyle/>
              <a:p>
                <a:pPr>
                  <a:defRPr/>
                </a:pPr>
                <a:r>
                  <a:rPr lang="en-US"/>
                  <a:t>Syntax Errors/Count (%)</a:t>
                </a:r>
              </a:p>
            </c:rich>
          </c:tx>
          <c:overlay val="0"/>
        </c:title>
        <c:numFmt formatCode="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31846527"/>
        <c:crosses val="autoZero"/>
        <c:crossBetween val="midCat"/>
      </c:valAx>
      <c:spPr>
        <a:noFill/>
        <a:ln w="25400">
          <a:noFill/>
        </a:ln>
      </c:spPr>
    </c:plotArea>
    <c:plotVisOnly val="1"/>
    <c:dispBlanksAs val="gap"/>
    <c:showDLblsOverMax val="0"/>
  </c:chart>
  <c:spPr>
    <a:solidFill>
      <a:schemeClr val="bg1"/>
    </a:solidFill>
    <a:ln w="9525" cap="flat" cmpd="sng" algn="ctr">
      <a:solidFill>
        <a:schemeClr val="tx1">
          <a:lumMod val="15000"/>
          <a:lumOff val="85000"/>
        </a:schemeClr>
      </a:solidFill>
      <a:round/>
    </a:ln>
    <a:effectLst/>
  </c:spPr>
  <c:txPr>
    <a:bodyPr/>
    <a:lstStyle/>
    <a:p>
      <a:pPr>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Schematron Errors/Size (MB) vs. </a:t>
            </a:r>
            <a:r>
              <a:rPr lang="en-US" sz="1400" b="0" i="0" u="none" strike="noStrike" baseline="0">
                <a:effectLst/>
              </a:rPr>
              <a:t>Completeness Violations/Size (MB)</a:t>
            </a:r>
            <a:endParaRPr lang="en-US"/>
          </a:p>
        </c:rich>
      </c:tx>
      <c:overlay val="0"/>
      <c:spPr>
        <a:noFill/>
        <a:ln w="25400">
          <a:noFill/>
        </a:ln>
      </c:spPr>
    </c:title>
    <c:autoTitleDeleted val="0"/>
    <c:plotArea>
      <c:layout/>
      <c:scatterChart>
        <c:scatterStyle val="lineMarker"/>
        <c:varyColors val="0"/>
        <c:ser>
          <c:idx val="0"/>
          <c:order val="0"/>
          <c:tx>
            <c:strRef>
              <c:f>'Schema Schematron vs Syntax Cmp'!$I$1</c:f>
              <c:strCache>
                <c:ptCount val="1"/>
                <c:pt idx="0">
                  <c:v>Comp_Violations/size</c:v>
                </c:pt>
              </c:strCache>
            </c:strRef>
          </c:tx>
          <c:spPr>
            <a:ln w="19050">
              <a:noFill/>
            </a:ln>
          </c:spPr>
          <c:marker>
            <c:symbol val="circle"/>
            <c:size val="5"/>
            <c:spPr>
              <a:solidFill>
                <a:schemeClr val="accent1"/>
              </a:solidFill>
              <a:ln w="9525">
                <a:solidFill>
                  <a:schemeClr val="accent1"/>
                </a:solidFill>
              </a:ln>
              <a:effectLst/>
            </c:spPr>
          </c:marker>
          <c:trendline>
            <c:spPr>
              <a:ln w="19050" cap="rnd">
                <a:solidFill>
                  <a:schemeClr val="accent1"/>
                </a:solidFill>
                <a:prstDash val="sysDot"/>
              </a:ln>
              <a:effectLst/>
            </c:spPr>
            <c:trendlineType val="linear"/>
            <c:dispRSqr val="1"/>
            <c:dispEq val="1"/>
            <c:trendlineLbl>
              <c:layout>
                <c:manualLayout>
                  <c:x val="-4.551049868766404E-2"/>
                  <c:y val="-0.37214202391367746"/>
                </c:manualLayout>
              </c:layout>
              <c:tx>
                <c:rich>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r>
                      <a:rPr lang="en-US" baseline="0" dirty="0"/>
                      <a:t>y = 0.001x + 19.452</a:t>
                    </a:r>
                    <a:br>
                      <a:rPr lang="en-US" baseline="0" dirty="0"/>
                    </a:br>
                    <a:r>
                      <a:rPr lang="en-US" baseline="0" dirty="0">
                        <a:highlight>
                          <a:srgbClr val="00FF00"/>
                        </a:highlight>
                      </a:rPr>
                      <a:t>R² = 2E-05</a:t>
                    </a:r>
                    <a:endParaRPr lang="en-US" dirty="0">
                      <a:highlight>
                        <a:srgbClr val="00FF00"/>
                      </a:highlight>
                    </a:endParaRPr>
                  </a:p>
                </c:rich>
              </c:tx>
              <c:numFmt formatCode="General" sourceLinked="0"/>
              <c:spPr>
                <a:noFill/>
                <a:ln w="25400">
                  <a:noFill/>
                </a:ln>
              </c:spPr>
            </c:trendlineLbl>
          </c:trendline>
          <c:xVal>
            <c:numRef>
              <c:f>'Schema Schematron vs Syntax Cmp'!$H$2:$H$801</c:f>
              <c:numCache>
                <c:formatCode>General</c:formatCode>
                <c:ptCount val="800"/>
                <c:pt idx="0">
                  <c:v>30.900725240021384</c:v>
                </c:pt>
                <c:pt idx="1">
                  <c:v>115.69281730277419</c:v>
                </c:pt>
                <c:pt idx="2">
                  <c:v>39.706624766723579</c:v>
                </c:pt>
                <c:pt idx="3">
                  <c:v>72.625956516859119</c:v>
                </c:pt>
                <c:pt idx="4">
                  <c:v>51.331847561523354</c:v>
                </c:pt>
                <c:pt idx="5">
                  <c:v>68.057304250178646</c:v>
                </c:pt>
                <c:pt idx="6">
                  <c:v>51.364365971107546</c:v>
                </c:pt>
                <c:pt idx="7">
                  <c:v>41.017788047416566</c:v>
                </c:pt>
                <c:pt idx="8">
                  <c:v>31.349600292596268</c:v>
                </c:pt>
                <c:pt idx="9">
                  <c:v>128.5488669335586</c:v>
                </c:pt>
                <c:pt idx="10">
                  <c:v>31.164729836419799</c:v>
                </c:pt>
                <c:pt idx="11">
                  <c:v>64.716541548019677</c:v>
                </c:pt>
                <c:pt idx="12">
                  <c:v>44.57555962588949</c:v>
                </c:pt>
                <c:pt idx="13">
                  <c:v>232.22918909789516</c:v>
                </c:pt>
                <c:pt idx="14">
                  <c:v>69.621398833145349</c:v>
                </c:pt>
                <c:pt idx="15">
                  <c:v>44.57555962588949</c:v>
                </c:pt>
                <c:pt idx="16">
                  <c:v>41.151801513638077</c:v>
                </c:pt>
                <c:pt idx="17">
                  <c:v>43.36207877805662</c:v>
                </c:pt>
                <c:pt idx="18">
                  <c:v>112.9501061730998</c:v>
                </c:pt>
                <c:pt idx="19">
                  <c:v>93.689431246596428</c:v>
                </c:pt>
                <c:pt idx="20">
                  <c:v>31.21573585244322</c:v>
                </c:pt>
                <c:pt idx="21">
                  <c:v>48.966800509254725</c:v>
                </c:pt>
                <c:pt idx="22">
                  <c:v>76.334712447138202</c:v>
                </c:pt>
                <c:pt idx="23">
                  <c:v>39.643211100099109</c:v>
                </c:pt>
                <c:pt idx="24">
                  <c:v>100.62314476076847</c:v>
                </c:pt>
                <c:pt idx="25">
                  <c:v>26.933332307301626</c:v>
                </c:pt>
                <c:pt idx="26">
                  <c:v>38.531685889696632</c:v>
                </c:pt>
                <c:pt idx="27">
                  <c:v>9.44911650760654</c:v>
                </c:pt>
                <c:pt idx="28">
                  <c:v>70.787015483298347</c:v>
                </c:pt>
                <c:pt idx="29">
                  <c:v>74.964945369296061</c:v>
                </c:pt>
                <c:pt idx="30">
                  <c:v>8.9046005618802955</c:v>
                </c:pt>
                <c:pt idx="31">
                  <c:v>20.429913479316419</c:v>
                </c:pt>
                <c:pt idx="32">
                  <c:v>26.783698675737412</c:v>
                </c:pt>
                <c:pt idx="33">
                  <c:v>54.244771275742686</c:v>
                </c:pt>
                <c:pt idx="34">
                  <c:v>60.559081439852719</c:v>
                </c:pt>
                <c:pt idx="35">
                  <c:v>23.585925492061374</c:v>
                </c:pt>
                <c:pt idx="36">
                  <c:v>53.902253653225245</c:v>
                </c:pt>
                <c:pt idx="37">
                  <c:v>51.531339643059589</c:v>
                </c:pt>
                <c:pt idx="38">
                  <c:v>34.153005464480877</c:v>
                </c:pt>
                <c:pt idx="39">
                  <c:v>48.994790220639871</c:v>
                </c:pt>
                <c:pt idx="40">
                  <c:v>58.7986264640858</c:v>
                </c:pt>
                <c:pt idx="41">
                  <c:v>70.778504568162646</c:v>
                </c:pt>
                <c:pt idx="42">
                  <c:v>23.329105816582327</c:v>
                </c:pt>
                <c:pt idx="43">
                  <c:v>89.784741083252896</c:v>
                </c:pt>
                <c:pt idx="44">
                  <c:v>31.798018983417332</c:v>
                </c:pt>
                <c:pt idx="45">
                  <c:v>69.360860074664927</c:v>
                </c:pt>
                <c:pt idx="46">
                  <c:v>245.9698781503065</c:v>
                </c:pt>
                <c:pt idx="47">
                  <c:v>17.234247897421756</c:v>
                </c:pt>
                <c:pt idx="48">
                  <c:v>158.17779183802594</c:v>
                </c:pt>
                <c:pt idx="49">
                  <c:v>34.70685720731273</c:v>
                </c:pt>
                <c:pt idx="50">
                  <c:v>54.152406532946323</c:v>
                </c:pt>
                <c:pt idx="51">
                  <c:v>87.859307961517615</c:v>
                </c:pt>
                <c:pt idx="52">
                  <c:v>34.407453059126176</c:v>
                </c:pt>
                <c:pt idx="53">
                  <c:v>24.611033797661502</c:v>
                </c:pt>
                <c:pt idx="54">
                  <c:v>26.547078399211173</c:v>
                </c:pt>
                <c:pt idx="55">
                  <c:v>180.96272167933407</c:v>
                </c:pt>
                <c:pt idx="56">
                  <c:v>24.453764045630724</c:v>
                </c:pt>
                <c:pt idx="57">
                  <c:v>35.827454976831582</c:v>
                </c:pt>
                <c:pt idx="58">
                  <c:v>29.635208021727838</c:v>
                </c:pt>
                <c:pt idx="59">
                  <c:v>78.236698227248468</c:v>
                </c:pt>
                <c:pt idx="60">
                  <c:v>58.603397322661934</c:v>
                </c:pt>
                <c:pt idx="61">
                  <c:v>40.307140409923619</c:v>
                </c:pt>
                <c:pt idx="62">
                  <c:v>24.501225061253063</c:v>
                </c:pt>
                <c:pt idx="63">
                  <c:v>47.008575707311174</c:v>
                </c:pt>
                <c:pt idx="64">
                  <c:v>51.304978781726632</c:v>
                </c:pt>
                <c:pt idx="65">
                  <c:v>39.407055176445091</c:v>
                </c:pt>
                <c:pt idx="66">
                  <c:v>19.711036209173518</c:v>
                </c:pt>
                <c:pt idx="67">
                  <c:v>31.74619971534241</c:v>
                </c:pt>
                <c:pt idx="68">
                  <c:v>32.517757018028774</c:v>
                </c:pt>
                <c:pt idx="69">
                  <c:v>22.22723216979065</c:v>
                </c:pt>
                <c:pt idx="70">
                  <c:v>54.006830275593671</c:v>
                </c:pt>
                <c:pt idx="71">
                  <c:v>48.520498044250694</c:v>
                </c:pt>
                <c:pt idx="72">
                  <c:v>15.875787835971359</c:v>
                </c:pt>
                <c:pt idx="73">
                  <c:v>67.132116004296464</c:v>
                </c:pt>
                <c:pt idx="74">
                  <c:v>60.323766271258741</c:v>
                </c:pt>
                <c:pt idx="75">
                  <c:v>74.827895839568981</c:v>
                </c:pt>
                <c:pt idx="76">
                  <c:v>26.494901203457292</c:v>
                </c:pt>
                <c:pt idx="77">
                  <c:v>62.933982252617</c:v>
                </c:pt>
                <c:pt idx="78">
                  <c:v>12.288899744083663</c:v>
                </c:pt>
                <c:pt idx="79">
                  <c:v>151.74967373820147</c:v>
                </c:pt>
                <c:pt idx="80">
                  <c:v>53.973822695992446</c:v>
                </c:pt>
                <c:pt idx="81">
                  <c:v>36.220182489352773</c:v>
                </c:pt>
                <c:pt idx="82">
                  <c:v>7.297192769941403</c:v>
                </c:pt>
                <c:pt idx="83">
                  <c:v>64.882524464528345</c:v>
                </c:pt>
                <c:pt idx="84">
                  <c:v>92.661230541141578</c:v>
                </c:pt>
                <c:pt idx="85">
                  <c:v>86.717107117306568</c:v>
                </c:pt>
                <c:pt idx="86">
                  <c:v>107.39820184724907</c:v>
                </c:pt>
                <c:pt idx="87">
                  <c:v>108.10956904823038</c:v>
                </c:pt>
                <c:pt idx="88">
                  <c:v>31.409871337314534</c:v>
                </c:pt>
                <c:pt idx="89">
                  <c:v>13.68920708690251</c:v>
                </c:pt>
                <c:pt idx="90">
                  <c:v>38.205404007452991</c:v>
                </c:pt>
                <c:pt idx="91">
                  <c:v>68.051069710468866</c:v>
                </c:pt>
                <c:pt idx="92">
                  <c:v>30.748244554765417</c:v>
                </c:pt>
                <c:pt idx="93">
                  <c:v>25.667927603610195</c:v>
                </c:pt>
                <c:pt idx="94">
                  <c:v>84.596312902239205</c:v>
                </c:pt>
                <c:pt idx="95">
                  <c:v>56.703654550535781</c:v>
                </c:pt>
                <c:pt idx="96">
                  <c:v>95.66265521265808</c:v>
                </c:pt>
                <c:pt idx="97">
                  <c:v>64.201652451762328</c:v>
                </c:pt>
                <c:pt idx="98">
                  <c:v>84.880810912934194</c:v>
                </c:pt>
                <c:pt idx="99">
                  <c:v>47.380504214711216</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203.38090851448192</c:v>
                </c:pt>
                <c:pt idx="301">
                  <c:v>152.89433278851268</c:v>
                </c:pt>
                <c:pt idx="302">
                  <c:v>215.19150778360341</c:v>
                </c:pt>
                <c:pt idx="303">
                  <c:v>306.9328043319527</c:v>
                </c:pt>
                <c:pt idx="304">
                  <c:v>136.06128902709594</c:v>
                </c:pt>
                <c:pt idx="305">
                  <c:v>136.78453481221123</c:v>
                </c:pt>
                <c:pt idx="306">
                  <c:v>177.38529284154458</c:v>
                </c:pt>
                <c:pt idx="307">
                  <c:v>126.66768669688297</c:v>
                </c:pt>
                <c:pt idx="308">
                  <c:v>126.66768669688297</c:v>
                </c:pt>
                <c:pt idx="309">
                  <c:v>126.66768669688297</c:v>
                </c:pt>
                <c:pt idx="310">
                  <c:v>180.41014051268175</c:v>
                </c:pt>
                <c:pt idx="311">
                  <c:v>29.093742568446192</c:v>
                </c:pt>
                <c:pt idx="312">
                  <c:v>340.79014629634139</c:v>
                </c:pt>
                <c:pt idx="313">
                  <c:v>211.76750547702815</c:v>
                </c:pt>
                <c:pt idx="314">
                  <c:v>152.9422736174578</c:v>
                </c:pt>
                <c:pt idx="315">
                  <c:v>238.46558237088988</c:v>
                </c:pt>
                <c:pt idx="316">
                  <c:v>121.78218816226912</c:v>
                </c:pt>
                <c:pt idx="317">
                  <c:v>130.5906975507888</c:v>
                </c:pt>
                <c:pt idx="318">
                  <c:v>166.4880883718773</c:v>
                </c:pt>
                <c:pt idx="319">
                  <c:v>184.4971421149927</c:v>
                </c:pt>
                <c:pt idx="320">
                  <c:v>278.46023809582482</c:v>
                </c:pt>
                <c:pt idx="321">
                  <c:v>288.45271342222918</c:v>
                </c:pt>
                <c:pt idx="322">
                  <c:v>121.07861517310336</c:v>
                </c:pt>
                <c:pt idx="323">
                  <c:v>326.35288603275359</c:v>
                </c:pt>
                <c:pt idx="324">
                  <c:v>196.32722250829903</c:v>
                </c:pt>
                <c:pt idx="325">
                  <c:v>107.4735359987494</c:v>
                </c:pt>
                <c:pt idx="326">
                  <c:v>43.245680018661162</c:v>
                </c:pt>
                <c:pt idx="327">
                  <c:v>329.8535677644345</c:v>
                </c:pt>
                <c:pt idx="328">
                  <c:v>51.993644296921147</c:v>
                </c:pt>
                <c:pt idx="329">
                  <c:v>180.12905717154996</c:v>
                </c:pt>
                <c:pt idx="330">
                  <c:v>181.04979719992517</c:v>
                </c:pt>
                <c:pt idx="331">
                  <c:v>211.06331539694895</c:v>
                </c:pt>
                <c:pt idx="332">
                  <c:v>157.0777820617173</c:v>
                </c:pt>
                <c:pt idx="333">
                  <c:v>275.20399174388024</c:v>
                </c:pt>
                <c:pt idx="334">
                  <c:v>250.45680607117168</c:v>
                </c:pt>
                <c:pt idx="335">
                  <c:v>59.506171640087246</c:v>
                </c:pt>
                <c:pt idx="336">
                  <c:v>139.57221117275549</c:v>
                </c:pt>
                <c:pt idx="337">
                  <c:v>232.23917473626869</c:v>
                </c:pt>
                <c:pt idx="338">
                  <c:v>207.76558501594599</c:v>
                </c:pt>
                <c:pt idx="339">
                  <c:v>252.6270582526418</c:v>
                </c:pt>
                <c:pt idx="340">
                  <c:v>282.80664167113014</c:v>
                </c:pt>
                <c:pt idx="341">
                  <c:v>56.112702960840494</c:v>
                </c:pt>
                <c:pt idx="342">
                  <c:v>214.40019495187127</c:v>
                </c:pt>
                <c:pt idx="343">
                  <c:v>245.65560619359198</c:v>
                </c:pt>
                <c:pt idx="344">
                  <c:v>91.778760383258046</c:v>
                </c:pt>
                <c:pt idx="345">
                  <c:v>306.46530117970531</c:v>
                </c:pt>
                <c:pt idx="346">
                  <c:v>99.304649203598544</c:v>
                </c:pt>
                <c:pt idx="347">
                  <c:v>239.10237712829283</c:v>
                </c:pt>
                <c:pt idx="348">
                  <c:v>264.76179381410543</c:v>
                </c:pt>
                <c:pt idx="349">
                  <c:v>116.04740249145729</c:v>
                </c:pt>
                <c:pt idx="350">
                  <c:v>279.57557082999296</c:v>
                </c:pt>
                <c:pt idx="351">
                  <c:v>360.56481417656011</c:v>
                </c:pt>
                <c:pt idx="352">
                  <c:v>328.6888363752513</c:v>
                </c:pt>
                <c:pt idx="353">
                  <c:v>2.6118730525221552</c:v>
                </c:pt>
                <c:pt idx="354">
                  <c:v>331.67795199018053</c:v>
                </c:pt>
                <c:pt idx="355">
                  <c:v>331.67795199018053</c:v>
                </c:pt>
                <c:pt idx="356">
                  <c:v>331.67795199018053</c:v>
                </c:pt>
                <c:pt idx="357">
                  <c:v>362.49497116803002</c:v>
                </c:pt>
                <c:pt idx="358">
                  <c:v>83.154847393036135</c:v>
                </c:pt>
                <c:pt idx="359">
                  <c:v>106.97800644795858</c:v>
                </c:pt>
                <c:pt idx="360">
                  <c:v>72.25831314688395</c:v>
                </c:pt>
                <c:pt idx="361">
                  <c:v>155.39170363694282</c:v>
                </c:pt>
                <c:pt idx="362">
                  <c:v>172.79970310923494</c:v>
                </c:pt>
                <c:pt idx="363">
                  <c:v>253.84510241673556</c:v>
                </c:pt>
                <c:pt idx="364">
                  <c:v>344.91611287379794</c:v>
                </c:pt>
                <c:pt idx="365">
                  <c:v>299.86969298795611</c:v>
                </c:pt>
                <c:pt idx="366">
                  <c:v>262.08033806044318</c:v>
                </c:pt>
                <c:pt idx="367">
                  <c:v>261.15983456711569</c:v>
                </c:pt>
                <c:pt idx="368">
                  <c:v>167.46111803371639</c:v>
                </c:pt>
                <c:pt idx="369">
                  <c:v>279.46577237619505</c:v>
                </c:pt>
                <c:pt idx="370">
                  <c:v>216.51294247750764</c:v>
                </c:pt>
                <c:pt idx="371">
                  <c:v>273.30873554713406</c:v>
                </c:pt>
                <c:pt idx="372">
                  <c:v>277.46822650430636</c:v>
                </c:pt>
                <c:pt idx="373">
                  <c:v>425.71781096891641</c:v>
                </c:pt>
                <c:pt idx="374">
                  <c:v>261.01783840503674</c:v>
                </c:pt>
                <c:pt idx="375">
                  <c:v>82.957299190757382</c:v>
                </c:pt>
                <c:pt idx="376">
                  <c:v>424.75314500862612</c:v>
                </c:pt>
                <c:pt idx="377">
                  <c:v>329.64391589501759</c:v>
                </c:pt>
                <c:pt idx="378">
                  <c:v>329.64391589501759</c:v>
                </c:pt>
                <c:pt idx="379">
                  <c:v>329.64391589501759</c:v>
                </c:pt>
                <c:pt idx="380">
                  <c:v>329.64391589501759</c:v>
                </c:pt>
                <c:pt idx="381">
                  <c:v>329.64391589501759</c:v>
                </c:pt>
                <c:pt idx="382">
                  <c:v>329.64391589501759</c:v>
                </c:pt>
                <c:pt idx="383">
                  <c:v>329.64391589501759</c:v>
                </c:pt>
                <c:pt idx="384">
                  <c:v>329.64391589501759</c:v>
                </c:pt>
                <c:pt idx="385">
                  <c:v>329.64391589501759</c:v>
                </c:pt>
                <c:pt idx="386">
                  <c:v>279.39415583051488</c:v>
                </c:pt>
                <c:pt idx="387">
                  <c:v>178.24252866734003</c:v>
                </c:pt>
                <c:pt idx="388">
                  <c:v>148.81563282564966</c:v>
                </c:pt>
                <c:pt idx="389">
                  <c:v>175.58403918857948</c:v>
                </c:pt>
                <c:pt idx="390">
                  <c:v>299.0613796458104</c:v>
                </c:pt>
                <c:pt idx="391">
                  <c:v>113.80230263985405</c:v>
                </c:pt>
                <c:pt idx="392">
                  <c:v>112.98429999014392</c:v>
                </c:pt>
                <c:pt idx="393">
                  <c:v>317.17102382333098</c:v>
                </c:pt>
                <c:pt idx="394">
                  <c:v>317.17102382333098</c:v>
                </c:pt>
                <c:pt idx="395">
                  <c:v>263.43693716533039</c:v>
                </c:pt>
                <c:pt idx="396">
                  <c:v>302.3609969063308</c:v>
                </c:pt>
                <c:pt idx="397">
                  <c:v>364.04926800093608</c:v>
                </c:pt>
                <c:pt idx="398">
                  <c:v>364.04926800093608</c:v>
                </c:pt>
                <c:pt idx="399">
                  <c:v>176.61068283752738</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96.62359686269096</c:v>
                </c:pt>
                <c:pt idx="501">
                  <c:v>83.302095047690443</c:v>
                </c:pt>
                <c:pt idx="502">
                  <c:v>50.22398914374007</c:v>
                </c:pt>
                <c:pt idx="503">
                  <c:v>5.9840166914172244</c:v>
                </c:pt>
                <c:pt idx="504">
                  <c:v>9.1693300174319159</c:v>
                </c:pt>
                <c:pt idx="505">
                  <c:v>66.612984438031319</c:v>
                </c:pt>
                <c:pt idx="506">
                  <c:v>67.807291677053811</c:v>
                </c:pt>
                <c:pt idx="507">
                  <c:v>188.95218900095085</c:v>
                </c:pt>
                <c:pt idx="508">
                  <c:v>145.90953608762567</c:v>
                </c:pt>
                <c:pt idx="509">
                  <c:v>14.058215068599068</c:v>
                </c:pt>
                <c:pt idx="510">
                  <c:v>36.498718489439703</c:v>
                </c:pt>
                <c:pt idx="511">
                  <c:v>18.658566884579088</c:v>
                </c:pt>
                <c:pt idx="512">
                  <c:v>19.06478212967664</c:v>
                </c:pt>
                <c:pt idx="513">
                  <c:v>148.28937612541046</c:v>
                </c:pt>
                <c:pt idx="514">
                  <c:v>78.026849137556397</c:v>
                </c:pt>
                <c:pt idx="515">
                  <c:v>20.548427751728024</c:v>
                </c:pt>
                <c:pt idx="516">
                  <c:v>72.121131886827129</c:v>
                </c:pt>
                <c:pt idx="517">
                  <c:v>32.748834857859826</c:v>
                </c:pt>
                <c:pt idx="518">
                  <c:v>17.33360251398414</c:v>
                </c:pt>
                <c:pt idx="519">
                  <c:v>3.9154881047471375</c:v>
                </c:pt>
                <c:pt idx="520">
                  <c:v>5.8835354164317337</c:v>
                </c:pt>
                <c:pt idx="521">
                  <c:v>16.771356102257919</c:v>
                </c:pt>
                <c:pt idx="522">
                  <c:v>14.840362223561154</c:v>
                </c:pt>
                <c:pt idx="523">
                  <c:v>69.463739927757715</c:v>
                </c:pt>
                <c:pt idx="524">
                  <c:v>176.34127130300524</c:v>
                </c:pt>
                <c:pt idx="525">
                  <c:v>141.78679721854814</c:v>
                </c:pt>
                <c:pt idx="526">
                  <c:v>88.307671778045545</c:v>
                </c:pt>
                <c:pt idx="527">
                  <c:v>4.0502268633321821</c:v>
                </c:pt>
                <c:pt idx="528">
                  <c:v>66.631130063965898</c:v>
                </c:pt>
                <c:pt idx="529">
                  <c:v>19.698165017437802</c:v>
                </c:pt>
                <c:pt idx="530">
                  <c:v>176.23526232618795</c:v>
                </c:pt>
                <c:pt idx="531">
                  <c:v>138.60163726870238</c:v>
                </c:pt>
                <c:pt idx="532">
                  <c:v>16.04703385623262</c:v>
                </c:pt>
                <c:pt idx="533">
                  <c:v>92.5339067118922</c:v>
                </c:pt>
                <c:pt idx="534">
                  <c:v>42.190278154476694</c:v>
                </c:pt>
                <c:pt idx="535">
                  <c:v>108.66794427670311</c:v>
                </c:pt>
                <c:pt idx="536">
                  <c:v>6.9535710063903311</c:v>
                </c:pt>
                <c:pt idx="537">
                  <c:v>84.644909565983227</c:v>
                </c:pt>
                <c:pt idx="538">
                  <c:v>17.834707926933181</c:v>
                </c:pt>
                <c:pt idx="539">
                  <c:v>27.203564271443209</c:v>
                </c:pt>
                <c:pt idx="540">
                  <c:v>18.846327049240493</c:v>
                </c:pt>
                <c:pt idx="541">
                  <c:v>15.384362923275106</c:v>
                </c:pt>
                <c:pt idx="542">
                  <c:v>59.009114873450883</c:v>
                </c:pt>
                <c:pt idx="543">
                  <c:v>7.8994323270443978</c:v>
                </c:pt>
                <c:pt idx="544">
                  <c:v>20.129898233299482</c:v>
                </c:pt>
                <c:pt idx="545">
                  <c:v>5.9148731456872694</c:v>
                </c:pt>
                <c:pt idx="546">
                  <c:v>10.06885080178259</c:v>
                </c:pt>
                <c:pt idx="547">
                  <c:v>20.941844497829528</c:v>
                </c:pt>
                <c:pt idx="548">
                  <c:v>14.255152983247141</c:v>
                </c:pt>
                <c:pt idx="549">
                  <c:v>5.9091119491107271</c:v>
                </c:pt>
                <c:pt idx="550">
                  <c:v>7.9142491108835769</c:v>
                </c:pt>
                <c:pt idx="551">
                  <c:v>37.653064662202468</c:v>
                </c:pt>
                <c:pt idx="552">
                  <c:v>18.150394166059971</c:v>
                </c:pt>
                <c:pt idx="553">
                  <c:v>15.131278976399241</c:v>
                </c:pt>
                <c:pt idx="554">
                  <c:v>34.226752233547252</c:v>
                </c:pt>
                <c:pt idx="555">
                  <c:v>197.09372665829105</c:v>
                </c:pt>
                <c:pt idx="556">
                  <c:v>52.851329210929656</c:v>
                </c:pt>
                <c:pt idx="557">
                  <c:v>128.01318535809187</c:v>
                </c:pt>
                <c:pt idx="558">
                  <c:v>8.1157220811551927</c:v>
                </c:pt>
                <c:pt idx="559">
                  <c:v>11.080912825451447</c:v>
                </c:pt>
                <c:pt idx="560">
                  <c:v>14.213241258602817</c:v>
                </c:pt>
                <c:pt idx="561">
                  <c:v>14.136644808721098</c:v>
                </c:pt>
                <c:pt idx="562">
                  <c:v>14.719938451030691</c:v>
                </c:pt>
                <c:pt idx="563">
                  <c:v>72.29118890892515</c:v>
                </c:pt>
                <c:pt idx="564">
                  <c:v>9.9802391265294705</c:v>
                </c:pt>
                <c:pt idx="565">
                  <c:v>10.228755896877775</c:v>
                </c:pt>
                <c:pt idx="566">
                  <c:v>12.083910675732284</c:v>
                </c:pt>
                <c:pt idx="567">
                  <c:v>35.789809516408091</c:v>
                </c:pt>
                <c:pt idx="568">
                  <c:v>10.801437180314283</c:v>
                </c:pt>
                <c:pt idx="569">
                  <c:v>57.211744753887331</c:v>
                </c:pt>
                <c:pt idx="570">
                  <c:v>283.42761100254091</c:v>
                </c:pt>
                <c:pt idx="571">
                  <c:v>70.961680692426086</c:v>
                </c:pt>
                <c:pt idx="572">
                  <c:v>7.8879827568696941</c:v>
                </c:pt>
                <c:pt idx="573">
                  <c:v>8.9350156313134566</c:v>
                </c:pt>
                <c:pt idx="574">
                  <c:v>14.069291259452804</c:v>
                </c:pt>
                <c:pt idx="575">
                  <c:v>4.0168587561997704</c:v>
                </c:pt>
                <c:pt idx="576">
                  <c:v>37.659259024347705</c:v>
                </c:pt>
                <c:pt idx="577">
                  <c:v>52.073684263232479</c:v>
                </c:pt>
                <c:pt idx="578">
                  <c:v>166.91984489294413</c:v>
                </c:pt>
                <c:pt idx="579">
                  <c:v>54.856362677762554</c:v>
                </c:pt>
                <c:pt idx="580">
                  <c:v>88.225093650429869</c:v>
                </c:pt>
                <c:pt idx="581">
                  <c:v>175.62696831928983</c:v>
                </c:pt>
                <c:pt idx="582">
                  <c:v>148.48103897132336</c:v>
                </c:pt>
                <c:pt idx="583">
                  <c:v>149.45106623372354</c:v>
                </c:pt>
                <c:pt idx="584">
                  <c:v>77.990722065747164</c:v>
                </c:pt>
                <c:pt idx="585">
                  <c:v>21.997030400895881</c:v>
                </c:pt>
                <c:pt idx="586">
                  <c:v>43.989430806091661</c:v>
                </c:pt>
                <c:pt idx="587">
                  <c:v>14.246695784199193</c:v>
                </c:pt>
                <c:pt idx="588">
                  <c:v>10.077668591837289</c:v>
                </c:pt>
                <c:pt idx="589">
                  <c:v>13.189787857481297</c:v>
                </c:pt>
                <c:pt idx="590">
                  <c:v>115.93548651865228</c:v>
                </c:pt>
                <c:pt idx="591">
                  <c:v>45.963972069552291</c:v>
                </c:pt>
                <c:pt idx="592">
                  <c:v>83.68784434060953</c:v>
                </c:pt>
                <c:pt idx="593">
                  <c:v>10.008206729518205</c:v>
                </c:pt>
                <c:pt idx="594">
                  <c:v>14.316655792825719</c:v>
                </c:pt>
                <c:pt idx="595">
                  <c:v>139.81498152732277</c:v>
                </c:pt>
                <c:pt idx="596">
                  <c:v>8.980754243655845</c:v>
                </c:pt>
                <c:pt idx="597">
                  <c:v>13.183019864782779</c:v>
                </c:pt>
                <c:pt idx="598">
                  <c:v>145.91420636381798</c:v>
                </c:pt>
                <c:pt idx="599">
                  <c:v>147.44333261249926</c:v>
                </c:pt>
                <c:pt idx="600">
                  <c:v>0</c:v>
                </c:pt>
                <c:pt idx="601">
                  <c:v>0</c:v>
                </c:pt>
                <c:pt idx="602">
                  <c:v>0</c:v>
                </c:pt>
                <c:pt idx="603">
                  <c:v>3.7810185307718189</c:v>
                </c:pt>
                <c:pt idx="604">
                  <c:v>0</c:v>
                </c:pt>
                <c:pt idx="605">
                  <c:v>3.7810185307718189</c:v>
                </c:pt>
                <c:pt idx="606">
                  <c:v>3.7810185307718189</c:v>
                </c:pt>
                <c:pt idx="607">
                  <c:v>3.7810185307718189</c:v>
                </c:pt>
                <c:pt idx="608">
                  <c:v>3.7810185307718189</c:v>
                </c:pt>
                <c:pt idx="609">
                  <c:v>3.7810185307718189</c:v>
                </c:pt>
                <c:pt idx="610">
                  <c:v>3.7810185307718189</c:v>
                </c:pt>
                <c:pt idx="611">
                  <c:v>0</c:v>
                </c:pt>
                <c:pt idx="612">
                  <c:v>3.7810185307718189</c:v>
                </c:pt>
                <c:pt idx="613">
                  <c:v>3.7810185307718189</c:v>
                </c:pt>
                <c:pt idx="614">
                  <c:v>0</c:v>
                </c:pt>
                <c:pt idx="615">
                  <c:v>3.7810185307718189</c:v>
                </c:pt>
                <c:pt idx="616">
                  <c:v>3.7810185307718189</c:v>
                </c:pt>
                <c:pt idx="617">
                  <c:v>3.7810185307718189</c:v>
                </c:pt>
                <c:pt idx="618">
                  <c:v>3.7810185307718189</c:v>
                </c:pt>
                <c:pt idx="619">
                  <c:v>3.7810185307718189</c:v>
                </c:pt>
                <c:pt idx="620">
                  <c:v>0</c:v>
                </c:pt>
                <c:pt idx="621">
                  <c:v>0</c:v>
                </c:pt>
                <c:pt idx="622">
                  <c:v>3.7810185307718189</c:v>
                </c:pt>
                <c:pt idx="623">
                  <c:v>3.7810185307718189</c:v>
                </c:pt>
                <c:pt idx="624">
                  <c:v>3.7810185307718189</c:v>
                </c:pt>
                <c:pt idx="625">
                  <c:v>0</c:v>
                </c:pt>
                <c:pt idx="626">
                  <c:v>3.7810185307718189</c:v>
                </c:pt>
                <c:pt idx="627">
                  <c:v>3.7810185307718189</c:v>
                </c:pt>
                <c:pt idx="628">
                  <c:v>3.7810185307718189</c:v>
                </c:pt>
                <c:pt idx="629">
                  <c:v>3.7810185307718189</c:v>
                </c:pt>
                <c:pt idx="630">
                  <c:v>3.7810185307718189</c:v>
                </c:pt>
                <c:pt idx="631">
                  <c:v>3.7810185307718189</c:v>
                </c:pt>
                <c:pt idx="632">
                  <c:v>3.7810185307718189</c:v>
                </c:pt>
                <c:pt idx="633">
                  <c:v>3.7810185307718189</c:v>
                </c:pt>
                <c:pt idx="634">
                  <c:v>3.7810185307718189</c:v>
                </c:pt>
                <c:pt idx="635">
                  <c:v>3.7810185307718189</c:v>
                </c:pt>
                <c:pt idx="636">
                  <c:v>0</c:v>
                </c:pt>
                <c:pt idx="637">
                  <c:v>3.7810185307718189</c:v>
                </c:pt>
                <c:pt idx="638">
                  <c:v>3.7810185307718189</c:v>
                </c:pt>
                <c:pt idx="639">
                  <c:v>3.7810185307718189</c:v>
                </c:pt>
                <c:pt idx="640">
                  <c:v>3.7810185307718189</c:v>
                </c:pt>
                <c:pt idx="641">
                  <c:v>3.7810185307718189</c:v>
                </c:pt>
                <c:pt idx="642">
                  <c:v>3.7810185307718189</c:v>
                </c:pt>
                <c:pt idx="643">
                  <c:v>3.7810185307718189</c:v>
                </c:pt>
                <c:pt idx="644">
                  <c:v>3.7810185307718189</c:v>
                </c:pt>
                <c:pt idx="645">
                  <c:v>3.7810185307718189</c:v>
                </c:pt>
                <c:pt idx="646">
                  <c:v>0</c:v>
                </c:pt>
                <c:pt idx="647">
                  <c:v>3.7810185307718189</c:v>
                </c:pt>
                <c:pt idx="648">
                  <c:v>3.7810185307718189</c:v>
                </c:pt>
                <c:pt idx="649">
                  <c:v>3.7810185307718189</c:v>
                </c:pt>
                <c:pt idx="650">
                  <c:v>3.7810185307718189</c:v>
                </c:pt>
                <c:pt idx="651">
                  <c:v>3.7810185307718189</c:v>
                </c:pt>
                <c:pt idx="652">
                  <c:v>3.7810185307718189</c:v>
                </c:pt>
                <c:pt idx="653">
                  <c:v>3.7810185307718189</c:v>
                </c:pt>
                <c:pt idx="654">
                  <c:v>3.7810185307718189</c:v>
                </c:pt>
                <c:pt idx="655">
                  <c:v>0</c:v>
                </c:pt>
                <c:pt idx="656">
                  <c:v>3.7810185307718189</c:v>
                </c:pt>
                <c:pt idx="657">
                  <c:v>3.7810185307718189</c:v>
                </c:pt>
                <c:pt idx="658">
                  <c:v>3.7810185307718189</c:v>
                </c:pt>
                <c:pt idx="659">
                  <c:v>3.7810185307718189</c:v>
                </c:pt>
                <c:pt idx="660">
                  <c:v>0</c:v>
                </c:pt>
                <c:pt idx="661">
                  <c:v>3.7810185307718189</c:v>
                </c:pt>
                <c:pt idx="662">
                  <c:v>0</c:v>
                </c:pt>
                <c:pt idx="663">
                  <c:v>3.7810185307718189</c:v>
                </c:pt>
                <c:pt idx="664">
                  <c:v>3.7810185307718189</c:v>
                </c:pt>
                <c:pt idx="665">
                  <c:v>0</c:v>
                </c:pt>
                <c:pt idx="666">
                  <c:v>3.7810185307718189</c:v>
                </c:pt>
                <c:pt idx="667">
                  <c:v>3.7810185307718189</c:v>
                </c:pt>
                <c:pt idx="668">
                  <c:v>3.7810185307718189</c:v>
                </c:pt>
                <c:pt idx="669">
                  <c:v>0</c:v>
                </c:pt>
                <c:pt idx="670">
                  <c:v>3.7810185307718189</c:v>
                </c:pt>
                <c:pt idx="671">
                  <c:v>3.7810185307718189</c:v>
                </c:pt>
                <c:pt idx="672">
                  <c:v>3.7810185307718189</c:v>
                </c:pt>
                <c:pt idx="673">
                  <c:v>3.7810185307718189</c:v>
                </c:pt>
                <c:pt idx="674">
                  <c:v>0</c:v>
                </c:pt>
                <c:pt idx="675">
                  <c:v>3.7810185307718189</c:v>
                </c:pt>
                <c:pt idx="676">
                  <c:v>3.7810185307718189</c:v>
                </c:pt>
                <c:pt idx="677">
                  <c:v>3.7810185307718189</c:v>
                </c:pt>
                <c:pt idx="678">
                  <c:v>3.7810185307718189</c:v>
                </c:pt>
                <c:pt idx="679">
                  <c:v>3.7810185307718189</c:v>
                </c:pt>
                <c:pt idx="680">
                  <c:v>3.7810185307718189</c:v>
                </c:pt>
                <c:pt idx="681">
                  <c:v>0</c:v>
                </c:pt>
                <c:pt idx="682">
                  <c:v>3.7810185307718189</c:v>
                </c:pt>
                <c:pt idx="683">
                  <c:v>3.7810185307718189</c:v>
                </c:pt>
                <c:pt idx="684">
                  <c:v>3.7810185307718189</c:v>
                </c:pt>
                <c:pt idx="685">
                  <c:v>3.7810185307718189</c:v>
                </c:pt>
                <c:pt idx="686">
                  <c:v>3.7810185307718189</c:v>
                </c:pt>
                <c:pt idx="687">
                  <c:v>3.7810185307718189</c:v>
                </c:pt>
                <c:pt idx="688">
                  <c:v>3.7810185307718189</c:v>
                </c:pt>
                <c:pt idx="689">
                  <c:v>3.7810185307718189</c:v>
                </c:pt>
                <c:pt idx="690">
                  <c:v>0</c:v>
                </c:pt>
                <c:pt idx="691">
                  <c:v>3.7810185307718189</c:v>
                </c:pt>
                <c:pt idx="692">
                  <c:v>3.7810185307718189</c:v>
                </c:pt>
                <c:pt idx="693">
                  <c:v>0</c:v>
                </c:pt>
                <c:pt idx="694">
                  <c:v>3.7810185307718189</c:v>
                </c:pt>
                <c:pt idx="695">
                  <c:v>3.7810185307718189</c:v>
                </c:pt>
                <c:pt idx="696">
                  <c:v>0</c:v>
                </c:pt>
                <c:pt idx="697">
                  <c:v>3.7810185307718189</c:v>
                </c:pt>
                <c:pt idx="698">
                  <c:v>3.7810185307718189</c:v>
                </c:pt>
                <c:pt idx="699">
                  <c:v>3.7810185307718189</c:v>
                </c:pt>
                <c:pt idx="700">
                  <c:v>3.7810185307718189</c:v>
                </c:pt>
                <c:pt idx="701">
                  <c:v>3.7810185307718189</c:v>
                </c:pt>
                <c:pt idx="702">
                  <c:v>3.7810185307718189</c:v>
                </c:pt>
                <c:pt idx="703">
                  <c:v>3.7810185307718189</c:v>
                </c:pt>
                <c:pt idx="704">
                  <c:v>0</c:v>
                </c:pt>
                <c:pt idx="705">
                  <c:v>3.7810185307718189</c:v>
                </c:pt>
                <c:pt idx="706">
                  <c:v>0</c:v>
                </c:pt>
                <c:pt idx="707">
                  <c:v>0</c:v>
                </c:pt>
                <c:pt idx="708">
                  <c:v>3.7810185307718189</c:v>
                </c:pt>
                <c:pt idx="709">
                  <c:v>3.7810185307718189</c:v>
                </c:pt>
                <c:pt idx="710">
                  <c:v>3.7810185307718189</c:v>
                </c:pt>
                <c:pt idx="711">
                  <c:v>0</c:v>
                </c:pt>
                <c:pt idx="712">
                  <c:v>3.7810185307718189</c:v>
                </c:pt>
                <c:pt idx="713">
                  <c:v>3.7810185307718189</c:v>
                </c:pt>
                <c:pt idx="714">
                  <c:v>0</c:v>
                </c:pt>
                <c:pt idx="715">
                  <c:v>0</c:v>
                </c:pt>
                <c:pt idx="716">
                  <c:v>0</c:v>
                </c:pt>
                <c:pt idx="717">
                  <c:v>0</c:v>
                </c:pt>
                <c:pt idx="718">
                  <c:v>0</c:v>
                </c:pt>
                <c:pt idx="719">
                  <c:v>0</c:v>
                </c:pt>
                <c:pt idx="720">
                  <c:v>0</c:v>
                </c:pt>
                <c:pt idx="721">
                  <c:v>0</c:v>
                </c:pt>
                <c:pt idx="722">
                  <c:v>0</c:v>
                </c:pt>
                <c:pt idx="723">
                  <c:v>0</c:v>
                </c:pt>
                <c:pt idx="724">
                  <c:v>0</c:v>
                </c:pt>
                <c:pt idx="725">
                  <c:v>0</c:v>
                </c:pt>
                <c:pt idx="726">
                  <c:v>0</c:v>
                </c:pt>
                <c:pt idx="727">
                  <c:v>3.2788175272469737</c:v>
                </c:pt>
                <c:pt idx="728">
                  <c:v>0</c:v>
                </c:pt>
                <c:pt idx="729">
                  <c:v>0</c:v>
                </c:pt>
                <c:pt idx="730">
                  <c:v>0</c:v>
                </c:pt>
                <c:pt idx="731">
                  <c:v>0</c:v>
                </c:pt>
                <c:pt idx="732">
                  <c:v>0</c:v>
                </c:pt>
                <c:pt idx="733">
                  <c:v>0</c:v>
                </c:pt>
                <c:pt idx="734">
                  <c:v>0</c:v>
                </c:pt>
                <c:pt idx="735">
                  <c:v>0</c:v>
                </c:pt>
                <c:pt idx="736">
                  <c:v>0</c:v>
                </c:pt>
                <c:pt idx="737">
                  <c:v>0</c:v>
                </c:pt>
                <c:pt idx="738">
                  <c:v>0</c:v>
                </c:pt>
                <c:pt idx="739">
                  <c:v>0</c:v>
                </c:pt>
                <c:pt idx="740">
                  <c:v>0</c:v>
                </c:pt>
                <c:pt idx="741">
                  <c:v>1.1076012458298814</c:v>
                </c:pt>
                <c:pt idx="742">
                  <c:v>0</c:v>
                </c:pt>
                <c:pt idx="743">
                  <c:v>4.9446447025548981</c:v>
                </c:pt>
                <c:pt idx="744">
                  <c:v>0</c:v>
                </c:pt>
                <c:pt idx="745">
                  <c:v>0</c:v>
                </c:pt>
                <c:pt idx="746">
                  <c:v>3.0647583438045909</c:v>
                </c:pt>
                <c:pt idx="747">
                  <c:v>0</c:v>
                </c:pt>
                <c:pt idx="748">
                  <c:v>0</c:v>
                </c:pt>
                <c:pt idx="749">
                  <c:v>0</c:v>
                </c:pt>
                <c:pt idx="750">
                  <c:v>0</c:v>
                </c:pt>
                <c:pt idx="751">
                  <c:v>0</c:v>
                </c:pt>
                <c:pt idx="752">
                  <c:v>2.287421355594518</c:v>
                </c:pt>
                <c:pt idx="753">
                  <c:v>0</c:v>
                </c:pt>
                <c:pt idx="754">
                  <c:v>0</c:v>
                </c:pt>
                <c:pt idx="755">
                  <c:v>0</c:v>
                </c:pt>
                <c:pt idx="756">
                  <c:v>0</c:v>
                </c:pt>
                <c:pt idx="757">
                  <c:v>0</c:v>
                </c:pt>
                <c:pt idx="758">
                  <c:v>0</c:v>
                </c:pt>
                <c:pt idx="759">
                  <c:v>0</c:v>
                </c:pt>
                <c:pt idx="760">
                  <c:v>0</c:v>
                </c:pt>
                <c:pt idx="761">
                  <c:v>0</c:v>
                </c:pt>
                <c:pt idx="762">
                  <c:v>2.9005432717547999</c:v>
                </c:pt>
                <c:pt idx="763">
                  <c:v>0</c:v>
                </c:pt>
                <c:pt idx="764">
                  <c:v>0</c:v>
                </c:pt>
                <c:pt idx="765">
                  <c:v>0</c:v>
                </c:pt>
                <c:pt idx="766">
                  <c:v>0</c:v>
                </c:pt>
                <c:pt idx="767">
                  <c:v>2.0262295414135991</c:v>
                </c:pt>
                <c:pt idx="768">
                  <c:v>0</c:v>
                </c:pt>
                <c:pt idx="769">
                  <c:v>0</c:v>
                </c:pt>
                <c:pt idx="770">
                  <c:v>0</c:v>
                </c:pt>
                <c:pt idx="771">
                  <c:v>0</c:v>
                </c:pt>
                <c:pt idx="772">
                  <c:v>0</c:v>
                </c:pt>
                <c:pt idx="773">
                  <c:v>0</c:v>
                </c:pt>
                <c:pt idx="774">
                  <c:v>0</c:v>
                </c:pt>
                <c:pt idx="775">
                  <c:v>292.42143985548495</c:v>
                </c:pt>
                <c:pt idx="776">
                  <c:v>0</c:v>
                </c:pt>
                <c:pt idx="777">
                  <c:v>0</c:v>
                </c:pt>
                <c:pt idx="778">
                  <c:v>0</c:v>
                </c:pt>
                <c:pt idx="779">
                  <c:v>0</c:v>
                </c:pt>
                <c:pt idx="780">
                  <c:v>0</c:v>
                </c:pt>
                <c:pt idx="781">
                  <c:v>0</c:v>
                </c:pt>
                <c:pt idx="782">
                  <c:v>0</c:v>
                </c:pt>
                <c:pt idx="783">
                  <c:v>2.1797771177897061</c:v>
                </c:pt>
                <c:pt idx="784">
                  <c:v>0</c:v>
                </c:pt>
                <c:pt idx="785">
                  <c:v>0</c:v>
                </c:pt>
                <c:pt idx="786">
                  <c:v>0</c:v>
                </c:pt>
                <c:pt idx="787">
                  <c:v>0</c:v>
                </c:pt>
                <c:pt idx="788">
                  <c:v>1.2760717407532651</c:v>
                </c:pt>
                <c:pt idx="789">
                  <c:v>0</c:v>
                </c:pt>
                <c:pt idx="790">
                  <c:v>0</c:v>
                </c:pt>
                <c:pt idx="791">
                  <c:v>0</c:v>
                </c:pt>
                <c:pt idx="792">
                  <c:v>4.0039185015735397</c:v>
                </c:pt>
                <c:pt idx="793">
                  <c:v>0</c:v>
                </c:pt>
                <c:pt idx="794">
                  <c:v>0</c:v>
                </c:pt>
                <c:pt idx="795">
                  <c:v>0</c:v>
                </c:pt>
                <c:pt idx="796">
                  <c:v>0</c:v>
                </c:pt>
                <c:pt idx="797">
                  <c:v>0</c:v>
                </c:pt>
                <c:pt idx="798">
                  <c:v>0</c:v>
                </c:pt>
                <c:pt idx="799">
                  <c:v>0</c:v>
                </c:pt>
              </c:numCache>
            </c:numRef>
          </c:xVal>
          <c:yVal>
            <c:numRef>
              <c:f>'Schema Schematron vs Syntax Cmp'!$I$2:$I$801</c:f>
              <c:numCache>
                <c:formatCode>General</c:formatCode>
                <c:ptCount val="800"/>
                <c:pt idx="0">
                  <c:v>6.4476333961619385</c:v>
                </c:pt>
                <c:pt idx="1">
                  <c:v>8.7386434046753418</c:v>
                </c:pt>
                <c:pt idx="2">
                  <c:v>7.3266830037331614</c:v>
                </c:pt>
                <c:pt idx="3">
                  <c:v>4.6162129172327599</c:v>
                </c:pt>
                <c:pt idx="4">
                  <c:v>8.7982516896309182</c:v>
                </c:pt>
                <c:pt idx="5">
                  <c:v>6.8227745921579883</c:v>
                </c:pt>
                <c:pt idx="6">
                  <c:v>10.522038409448591</c:v>
                </c:pt>
                <c:pt idx="7">
                  <c:v>8.3151698841177133</c:v>
                </c:pt>
                <c:pt idx="8">
                  <c:v>7.5635579526686296</c:v>
                </c:pt>
                <c:pt idx="9">
                  <c:v>7.3401652795501953</c:v>
                </c:pt>
                <c:pt idx="10">
                  <c:v>12.221905810660679</c:v>
                </c:pt>
                <c:pt idx="11">
                  <c:v>12.221905810660679</c:v>
                </c:pt>
                <c:pt idx="12">
                  <c:v>12.221905810660679</c:v>
                </c:pt>
                <c:pt idx="13">
                  <c:v>12.221905810660679</c:v>
                </c:pt>
                <c:pt idx="14">
                  <c:v>12.221905810660679</c:v>
                </c:pt>
                <c:pt idx="15">
                  <c:v>12.221905810660679</c:v>
                </c:pt>
                <c:pt idx="16">
                  <c:v>12.221905810660679</c:v>
                </c:pt>
                <c:pt idx="17">
                  <c:v>12.221905810660679</c:v>
                </c:pt>
                <c:pt idx="18">
                  <c:v>12.221905810660679</c:v>
                </c:pt>
                <c:pt idx="19">
                  <c:v>12.221905810660679</c:v>
                </c:pt>
                <c:pt idx="20">
                  <c:v>12.221905810660679</c:v>
                </c:pt>
                <c:pt idx="21">
                  <c:v>12.221905810660679</c:v>
                </c:pt>
                <c:pt idx="22">
                  <c:v>12.221905810660679</c:v>
                </c:pt>
                <c:pt idx="23">
                  <c:v>12.221905810660679</c:v>
                </c:pt>
                <c:pt idx="24">
                  <c:v>12.221905810660679</c:v>
                </c:pt>
                <c:pt idx="25">
                  <c:v>12.221905810660679</c:v>
                </c:pt>
                <c:pt idx="26">
                  <c:v>12.221905810660679</c:v>
                </c:pt>
                <c:pt idx="27">
                  <c:v>12.221905810660679</c:v>
                </c:pt>
                <c:pt idx="28">
                  <c:v>12.221905810660679</c:v>
                </c:pt>
                <c:pt idx="29">
                  <c:v>12.221905810660679</c:v>
                </c:pt>
                <c:pt idx="30">
                  <c:v>12.221905810660679</c:v>
                </c:pt>
                <c:pt idx="31">
                  <c:v>12.221905810660679</c:v>
                </c:pt>
                <c:pt idx="32">
                  <c:v>12.221905810660679</c:v>
                </c:pt>
                <c:pt idx="33">
                  <c:v>12.221905810660679</c:v>
                </c:pt>
                <c:pt idx="34">
                  <c:v>12.221905810660679</c:v>
                </c:pt>
                <c:pt idx="35">
                  <c:v>12.221905810660679</c:v>
                </c:pt>
                <c:pt idx="36">
                  <c:v>12.221905810660679</c:v>
                </c:pt>
                <c:pt idx="37">
                  <c:v>12.221905810660679</c:v>
                </c:pt>
                <c:pt idx="38">
                  <c:v>12.221905810660679</c:v>
                </c:pt>
                <c:pt idx="39">
                  <c:v>12.221905810660679</c:v>
                </c:pt>
                <c:pt idx="40">
                  <c:v>12.221905810660679</c:v>
                </c:pt>
                <c:pt idx="41">
                  <c:v>12.221905810660679</c:v>
                </c:pt>
                <c:pt idx="42">
                  <c:v>12.221905810660679</c:v>
                </c:pt>
                <c:pt idx="43">
                  <c:v>12.221905810660679</c:v>
                </c:pt>
                <c:pt idx="44">
                  <c:v>12.221905810660679</c:v>
                </c:pt>
                <c:pt idx="45">
                  <c:v>12.221905810660679</c:v>
                </c:pt>
                <c:pt idx="46">
                  <c:v>12.221905810660679</c:v>
                </c:pt>
                <c:pt idx="47">
                  <c:v>12.221905810660679</c:v>
                </c:pt>
                <c:pt idx="48">
                  <c:v>12.221905810660679</c:v>
                </c:pt>
                <c:pt idx="49">
                  <c:v>12.221905810660679</c:v>
                </c:pt>
                <c:pt idx="50">
                  <c:v>12.221905810660679</c:v>
                </c:pt>
                <c:pt idx="51">
                  <c:v>12.221905810660679</c:v>
                </c:pt>
                <c:pt idx="52">
                  <c:v>12.221905810660679</c:v>
                </c:pt>
                <c:pt idx="53">
                  <c:v>12.221905810660679</c:v>
                </c:pt>
                <c:pt idx="54">
                  <c:v>12.221905810660679</c:v>
                </c:pt>
                <c:pt idx="55">
                  <c:v>12.221905810660679</c:v>
                </c:pt>
                <c:pt idx="56">
                  <c:v>12.221905810660679</c:v>
                </c:pt>
                <c:pt idx="57">
                  <c:v>12.221905810660679</c:v>
                </c:pt>
                <c:pt idx="58">
                  <c:v>12.221905810660679</c:v>
                </c:pt>
                <c:pt idx="59">
                  <c:v>12.221905810660679</c:v>
                </c:pt>
                <c:pt idx="60">
                  <c:v>12.221905810660679</c:v>
                </c:pt>
                <c:pt idx="61">
                  <c:v>12.221905810660679</c:v>
                </c:pt>
                <c:pt idx="62">
                  <c:v>12.221905810660679</c:v>
                </c:pt>
                <c:pt idx="63">
                  <c:v>12.221905810660679</c:v>
                </c:pt>
                <c:pt idx="64">
                  <c:v>12.221905810660679</c:v>
                </c:pt>
                <c:pt idx="65">
                  <c:v>12.221905810660679</c:v>
                </c:pt>
                <c:pt idx="66">
                  <c:v>12.221905810660679</c:v>
                </c:pt>
                <c:pt idx="67">
                  <c:v>12.221905810660679</c:v>
                </c:pt>
                <c:pt idx="68">
                  <c:v>12.221905810660679</c:v>
                </c:pt>
                <c:pt idx="69">
                  <c:v>12.221905810660679</c:v>
                </c:pt>
                <c:pt idx="70">
                  <c:v>5.9825678377673261</c:v>
                </c:pt>
                <c:pt idx="71">
                  <c:v>5.3242925156166567</c:v>
                </c:pt>
                <c:pt idx="72">
                  <c:v>5.3388640575214295</c:v>
                </c:pt>
                <c:pt idx="73">
                  <c:v>5.8607207361472948</c:v>
                </c:pt>
                <c:pt idx="74">
                  <c:v>6.2132321855152268</c:v>
                </c:pt>
                <c:pt idx="75">
                  <c:v>4.9787820903250646</c:v>
                </c:pt>
                <c:pt idx="76">
                  <c:v>5.746837802499174</c:v>
                </c:pt>
                <c:pt idx="77">
                  <c:v>5.7482381650024266</c:v>
                </c:pt>
                <c:pt idx="78">
                  <c:v>5.1337088736443084</c:v>
                </c:pt>
                <c:pt idx="79">
                  <c:v>6.0955522875150105</c:v>
                </c:pt>
                <c:pt idx="80">
                  <c:v>3.4704388022821604</c:v>
                </c:pt>
                <c:pt idx="81">
                  <c:v>12.221905810660679</c:v>
                </c:pt>
                <c:pt idx="82">
                  <c:v>12.221905810660679</c:v>
                </c:pt>
                <c:pt idx="83">
                  <c:v>12.221905810660679</c:v>
                </c:pt>
                <c:pt idx="84">
                  <c:v>12.221905810660679</c:v>
                </c:pt>
                <c:pt idx="85">
                  <c:v>12.221905810660679</c:v>
                </c:pt>
                <c:pt idx="86">
                  <c:v>12.221905810660679</c:v>
                </c:pt>
                <c:pt idx="87">
                  <c:v>12.221905810660679</c:v>
                </c:pt>
                <c:pt idx="88">
                  <c:v>12.221905810660679</c:v>
                </c:pt>
                <c:pt idx="89">
                  <c:v>12.221905810660679</c:v>
                </c:pt>
                <c:pt idx="90">
                  <c:v>12.221905810660679</c:v>
                </c:pt>
                <c:pt idx="91">
                  <c:v>12.221905810660679</c:v>
                </c:pt>
                <c:pt idx="92">
                  <c:v>12.221905810660679</c:v>
                </c:pt>
                <c:pt idx="93">
                  <c:v>12.221905810660679</c:v>
                </c:pt>
                <c:pt idx="94">
                  <c:v>12.221905810660679</c:v>
                </c:pt>
                <c:pt idx="95">
                  <c:v>12.221905810660679</c:v>
                </c:pt>
                <c:pt idx="96">
                  <c:v>12.221905810660679</c:v>
                </c:pt>
                <c:pt idx="97">
                  <c:v>12.221905810660679</c:v>
                </c:pt>
                <c:pt idx="98">
                  <c:v>12.221905810660679</c:v>
                </c:pt>
                <c:pt idx="99">
                  <c:v>12.221905810660679</c:v>
                </c:pt>
                <c:pt idx="100">
                  <c:v>12.221905810660679</c:v>
                </c:pt>
                <c:pt idx="101">
                  <c:v>12.221905810660679</c:v>
                </c:pt>
                <c:pt idx="102">
                  <c:v>12.221905810660679</c:v>
                </c:pt>
                <c:pt idx="103">
                  <c:v>12.221905810660679</c:v>
                </c:pt>
                <c:pt idx="104">
                  <c:v>12.221905810660679</c:v>
                </c:pt>
                <c:pt idx="105">
                  <c:v>12.221905810660679</c:v>
                </c:pt>
                <c:pt idx="106">
                  <c:v>12.221905810660679</c:v>
                </c:pt>
                <c:pt idx="107">
                  <c:v>12.221905810660679</c:v>
                </c:pt>
                <c:pt idx="108">
                  <c:v>12.221905810660679</c:v>
                </c:pt>
                <c:pt idx="109">
                  <c:v>12.221905810660679</c:v>
                </c:pt>
                <c:pt idx="110">
                  <c:v>19.647172503960693</c:v>
                </c:pt>
                <c:pt idx="111">
                  <c:v>26.512846050277577</c:v>
                </c:pt>
                <c:pt idx="112">
                  <c:v>36.289737262302218</c:v>
                </c:pt>
                <c:pt idx="113">
                  <c:v>20.118064297333493</c:v>
                </c:pt>
                <c:pt idx="114">
                  <c:v>44.949800063289317</c:v>
                </c:pt>
                <c:pt idx="115">
                  <c:v>39.972019586289598</c:v>
                </c:pt>
                <c:pt idx="116">
                  <c:v>12.043549474901244</c:v>
                </c:pt>
                <c:pt idx="117">
                  <c:v>47.121440928786036</c:v>
                </c:pt>
                <c:pt idx="118">
                  <c:v>26.85958858117143</c:v>
                </c:pt>
                <c:pt idx="119">
                  <c:v>25.098662843638344</c:v>
                </c:pt>
                <c:pt idx="120">
                  <c:v>37.958209818523606</c:v>
                </c:pt>
                <c:pt idx="121">
                  <c:v>27.078286711669275</c:v>
                </c:pt>
                <c:pt idx="122">
                  <c:v>8.9037378739569899</c:v>
                </c:pt>
                <c:pt idx="123">
                  <c:v>23.693313746860635</c:v>
                </c:pt>
                <c:pt idx="124">
                  <c:v>25.863023221891289</c:v>
                </c:pt>
                <c:pt idx="125">
                  <c:v>25.254985153676586</c:v>
                </c:pt>
                <c:pt idx="126">
                  <c:v>31.215950458800148</c:v>
                </c:pt>
                <c:pt idx="127">
                  <c:v>31.609933421577729</c:v>
                </c:pt>
                <c:pt idx="128">
                  <c:v>23.607601197917134</c:v>
                </c:pt>
                <c:pt idx="129">
                  <c:v>25.651429717414523</c:v>
                </c:pt>
                <c:pt idx="130">
                  <c:v>26.686711352082231</c:v>
                </c:pt>
                <c:pt idx="131">
                  <c:v>16.784634674034002</c:v>
                </c:pt>
                <c:pt idx="132">
                  <c:v>11.912332043208863</c:v>
                </c:pt>
                <c:pt idx="133">
                  <c:v>26.906060414634091</c:v>
                </c:pt>
                <c:pt idx="134">
                  <c:v>10.802577494990306</c:v>
                </c:pt>
                <c:pt idx="135">
                  <c:v>13.201201309319149</c:v>
                </c:pt>
                <c:pt idx="136">
                  <c:v>16.183903085393691</c:v>
                </c:pt>
                <c:pt idx="137">
                  <c:v>54.18742346026437</c:v>
                </c:pt>
                <c:pt idx="138">
                  <c:v>31.455173518175371</c:v>
                </c:pt>
                <c:pt idx="139">
                  <c:v>8.9636657807576992</c:v>
                </c:pt>
                <c:pt idx="140">
                  <c:v>15.094209429999525</c:v>
                </c:pt>
                <c:pt idx="141">
                  <c:v>47.362232532087909</c:v>
                </c:pt>
                <c:pt idx="142">
                  <c:v>42.607666668603379</c:v>
                </c:pt>
                <c:pt idx="143">
                  <c:v>25.226139059755411</c:v>
                </c:pt>
                <c:pt idx="144">
                  <c:v>16.407826689595954</c:v>
                </c:pt>
                <c:pt idx="145">
                  <c:v>26.640753248268986</c:v>
                </c:pt>
                <c:pt idx="146">
                  <c:v>14.641099792564898</c:v>
                </c:pt>
                <c:pt idx="147">
                  <c:v>24.275497769081756</c:v>
                </c:pt>
                <c:pt idx="148">
                  <c:v>31.671410493151399</c:v>
                </c:pt>
                <c:pt idx="149">
                  <c:v>51.286935752122908</c:v>
                </c:pt>
                <c:pt idx="150">
                  <c:v>32.585363469363649</c:v>
                </c:pt>
                <c:pt idx="151">
                  <c:v>36.655406383056707</c:v>
                </c:pt>
                <c:pt idx="152">
                  <c:v>46.20087627662005</c:v>
                </c:pt>
                <c:pt idx="153">
                  <c:v>43.5102486412936</c:v>
                </c:pt>
                <c:pt idx="154">
                  <c:v>30.753761318721285</c:v>
                </c:pt>
                <c:pt idx="155">
                  <c:v>28.451613701307537</c:v>
                </c:pt>
                <c:pt idx="156">
                  <c:v>34.013555141148856</c:v>
                </c:pt>
                <c:pt idx="157">
                  <c:v>41.41350198488999</c:v>
                </c:pt>
                <c:pt idx="158">
                  <c:v>33.082252818711325</c:v>
                </c:pt>
                <c:pt idx="159">
                  <c:v>24.859824489639102</c:v>
                </c:pt>
                <c:pt idx="160">
                  <c:v>3.9910196735984469</c:v>
                </c:pt>
                <c:pt idx="161">
                  <c:v>4.8374756009824376</c:v>
                </c:pt>
                <c:pt idx="162">
                  <c:v>18.261546433405847</c:v>
                </c:pt>
                <c:pt idx="163">
                  <c:v>4.9355713118618665</c:v>
                </c:pt>
                <c:pt idx="164">
                  <c:v>4.8390629536621521</c:v>
                </c:pt>
                <c:pt idx="165">
                  <c:v>5.5915202731218017</c:v>
                </c:pt>
                <c:pt idx="166">
                  <c:v>4.8664037006296583</c:v>
                </c:pt>
                <c:pt idx="167">
                  <c:v>17.264017663008293</c:v>
                </c:pt>
                <c:pt idx="168">
                  <c:v>29.025489908804676</c:v>
                </c:pt>
                <c:pt idx="169">
                  <c:v>22.551681791669616</c:v>
                </c:pt>
                <c:pt idx="170">
                  <c:v>17.303644351072624</c:v>
                </c:pt>
                <c:pt idx="171">
                  <c:v>4.5230743223091876</c:v>
                </c:pt>
                <c:pt idx="172">
                  <c:v>30.982173631846575</c:v>
                </c:pt>
                <c:pt idx="173">
                  <c:v>4.3179363718491661</c:v>
                </c:pt>
                <c:pt idx="174">
                  <c:v>4.8129290472933608</c:v>
                </c:pt>
                <c:pt idx="175">
                  <c:v>25.792996464517127</c:v>
                </c:pt>
                <c:pt idx="176">
                  <c:v>27.194952616794321</c:v>
                </c:pt>
                <c:pt idx="177">
                  <c:v>38.270786690812052</c:v>
                </c:pt>
                <c:pt idx="178">
                  <c:v>27.241461504409713</c:v>
                </c:pt>
                <c:pt idx="179">
                  <c:v>38.31505705111995</c:v>
                </c:pt>
                <c:pt idx="180">
                  <c:v>5.2000301054374525</c:v>
                </c:pt>
                <c:pt idx="181">
                  <c:v>27.438815252932525</c:v>
                </c:pt>
                <c:pt idx="182">
                  <c:v>17.664758218528764</c:v>
                </c:pt>
                <c:pt idx="183">
                  <c:v>12.870975708446659</c:v>
                </c:pt>
                <c:pt idx="184">
                  <c:v>6.3255598911198634</c:v>
                </c:pt>
                <c:pt idx="185">
                  <c:v>6.3171339048616666</c:v>
                </c:pt>
                <c:pt idx="186">
                  <c:v>6.0709290395499913</c:v>
                </c:pt>
                <c:pt idx="187">
                  <c:v>4.7431017513903218</c:v>
                </c:pt>
                <c:pt idx="188">
                  <c:v>5.3240944415893603</c:v>
                </c:pt>
                <c:pt idx="189">
                  <c:v>5.3049138858913025</c:v>
                </c:pt>
                <c:pt idx="190">
                  <c:v>4.7431942409189567</c:v>
                </c:pt>
                <c:pt idx="191">
                  <c:v>12.098920776266757</c:v>
                </c:pt>
                <c:pt idx="192">
                  <c:v>20.17218076963594</c:v>
                </c:pt>
                <c:pt idx="193">
                  <c:v>5.9700261270052506</c:v>
                </c:pt>
                <c:pt idx="194">
                  <c:v>5.2640708614125558</c:v>
                </c:pt>
                <c:pt idx="195">
                  <c:v>5.6293114494297507</c:v>
                </c:pt>
                <c:pt idx="196">
                  <c:v>4.8334113886874261</c:v>
                </c:pt>
                <c:pt idx="197">
                  <c:v>4.8334101591158625</c:v>
                </c:pt>
                <c:pt idx="198">
                  <c:v>4.0883096692884537</c:v>
                </c:pt>
                <c:pt idx="199">
                  <c:v>4.7746784477878466</c:v>
                </c:pt>
                <c:pt idx="200">
                  <c:v>5.3421086371212443</c:v>
                </c:pt>
                <c:pt idx="201">
                  <c:v>52.526387944143437</c:v>
                </c:pt>
                <c:pt idx="202">
                  <c:v>52.69217494855927</c:v>
                </c:pt>
                <c:pt idx="203">
                  <c:v>53.856241534472034</c:v>
                </c:pt>
                <c:pt idx="204">
                  <c:v>44.221199643108903</c:v>
                </c:pt>
                <c:pt idx="205">
                  <c:v>57.800127160279757</c:v>
                </c:pt>
                <c:pt idx="206">
                  <c:v>56.293627561360054</c:v>
                </c:pt>
                <c:pt idx="207">
                  <c:v>53.399379041506577</c:v>
                </c:pt>
                <c:pt idx="208">
                  <c:v>53.968433863033511</c:v>
                </c:pt>
                <c:pt idx="209">
                  <c:v>89.666518521983889</c:v>
                </c:pt>
                <c:pt idx="210">
                  <c:v>56.65706329443826</c:v>
                </c:pt>
                <c:pt idx="211">
                  <c:v>52.75388466418196</c:v>
                </c:pt>
                <c:pt idx="212">
                  <c:v>55.06289559249052</c:v>
                </c:pt>
                <c:pt idx="213">
                  <c:v>40.498829873094024</c:v>
                </c:pt>
                <c:pt idx="214">
                  <c:v>37.11909429409922</c:v>
                </c:pt>
                <c:pt idx="215">
                  <c:v>49.542126452366546</c:v>
                </c:pt>
                <c:pt idx="216">
                  <c:v>58.632269068812967</c:v>
                </c:pt>
                <c:pt idx="217">
                  <c:v>63.107062503429731</c:v>
                </c:pt>
                <c:pt idx="218">
                  <c:v>17.995274954947543</c:v>
                </c:pt>
                <c:pt idx="219">
                  <c:v>79.218677500763903</c:v>
                </c:pt>
                <c:pt idx="220">
                  <c:v>61.948912796580423</c:v>
                </c:pt>
                <c:pt idx="221">
                  <c:v>41.548872727146822</c:v>
                </c:pt>
                <c:pt idx="222">
                  <c:v>30.647642142806518</c:v>
                </c:pt>
                <c:pt idx="223">
                  <c:v>43.382363014480575</c:v>
                </c:pt>
                <c:pt idx="224">
                  <c:v>61.030189600455692</c:v>
                </c:pt>
                <c:pt idx="225">
                  <c:v>59.956957215977582</c:v>
                </c:pt>
                <c:pt idx="226">
                  <c:v>34.141927994673857</c:v>
                </c:pt>
                <c:pt idx="227">
                  <c:v>28.89179732982009</c:v>
                </c:pt>
                <c:pt idx="228">
                  <c:v>55.735146583435515</c:v>
                </c:pt>
                <c:pt idx="229">
                  <c:v>18.95164892882573</c:v>
                </c:pt>
                <c:pt idx="230">
                  <c:v>19.017285886031889</c:v>
                </c:pt>
                <c:pt idx="231">
                  <c:v>84.379878211709112</c:v>
                </c:pt>
                <c:pt idx="232">
                  <c:v>55.687555687555687</c:v>
                </c:pt>
                <c:pt idx="233">
                  <c:v>37.532862580247816</c:v>
                </c:pt>
                <c:pt idx="234">
                  <c:v>30.051894157228777</c:v>
                </c:pt>
                <c:pt idx="235">
                  <c:v>35.771867470341284</c:v>
                </c:pt>
                <c:pt idx="236">
                  <c:v>43.697038349193114</c:v>
                </c:pt>
                <c:pt idx="237">
                  <c:v>26.438908877725794</c:v>
                </c:pt>
                <c:pt idx="238">
                  <c:v>42.600114364922412</c:v>
                </c:pt>
                <c:pt idx="239">
                  <c:v>42.618176652342228</c:v>
                </c:pt>
                <c:pt idx="240">
                  <c:v>30.766517004653949</c:v>
                </c:pt>
                <c:pt idx="241">
                  <c:v>13.794007193574751</c:v>
                </c:pt>
                <c:pt idx="242">
                  <c:v>34.409024995698871</c:v>
                </c:pt>
                <c:pt idx="243">
                  <c:v>15.959229488400299</c:v>
                </c:pt>
                <c:pt idx="244">
                  <c:v>12.728854190975241</c:v>
                </c:pt>
                <c:pt idx="245">
                  <c:v>25.797194739337773</c:v>
                </c:pt>
                <c:pt idx="246">
                  <c:v>22.608424351081698</c:v>
                </c:pt>
                <c:pt idx="247">
                  <c:v>33.124305165942417</c:v>
                </c:pt>
                <c:pt idx="248">
                  <c:v>28.542580177891629</c:v>
                </c:pt>
                <c:pt idx="249">
                  <c:v>4.5746595881433976</c:v>
                </c:pt>
                <c:pt idx="250">
                  <c:v>49.291171522561427</c:v>
                </c:pt>
                <c:pt idx="251">
                  <c:v>46.245031870534461</c:v>
                </c:pt>
                <c:pt idx="252">
                  <c:v>37.956769047520069</c:v>
                </c:pt>
                <c:pt idx="253">
                  <c:v>65.683362404302983</c:v>
                </c:pt>
                <c:pt idx="254">
                  <c:v>49.593334655822254</c:v>
                </c:pt>
                <c:pt idx="255">
                  <c:v>54.495642825648623</c:v>
                </c:pt>
                <c:pt idx="256">
                  <c:v>43.622689905927665</c:v>
                </c:pt>
                <c:pt idx="257">
                  <c:v>38.413005107009027</c:v>
                </c:pt>
                <c:pt idx="258">
                  <c:v>36.476311515379571</c:v>
                </c:pt>
                <c:pt idx="259">
                  <c:v>46.711509715994019</c:v>
                </c:pt>
                <c:pt idx="260">
                  <c:v>48.779654981500315</c:v>
                </c:pt>
                <c:pt idx="261">
                  <c:v>51.293950977638275</c:v>
                </c:pt>
                <c:pt idx="262">
                  <c:v>48.721546616775797</c:v>
                </c:pt>
                <c:pt idx="263">
                  <c:v>36.755615255585184</c:v>
                </c:pt>
                <c:pt idx="264">
                  <c:v>43.045096195028719</c:v>
                </c:pt>
                <c:pt idx="265">
                  <c:v>50.585399536131888</c:v>
                </c:pt>
                <c:pt idx="266">
                  <c:v>56.716403801889605</c:v>
                </c:pt>
                <c:pt idx="267">
                  <c:v>53.026205550783196</c:v>
                </c:pt>
                <c:pt idx="268">
                  <c:v>50.257902393863247</c:v>
                </c:pt>
                <c:pt idx="269">
                  <c:v>45.809845741372072</c:v>
                </c:pt>
                <c:pt idx="270">
                  <c:v>38.695828386037732</c:v>
                </c:pt>
                <c:pt idx="271">
                  <c:v>40.276295386350363</c:v>
                </c:pt>
                <c:pt idx="272">
                  <c:v>47.937489513674166</c:v>
                </c:pt>
                <c:pt idx="273">
                  <c:v>44.710812497078557</c:v>
                </c:pt>
                <c:pt idx="274">
                  <c:v>36.581954337113466</c:v>
                </c:pt>
                <c:pt idx="275">
                  <c:v>49.798838900756152</c:v>
                </c:pt>
                <c:pt idx="276">
                  <c:v>39.661085586535272</c:v>
                </c:pt>
                <c:pt idx="277">
                  <c:v>58.445947662924432</c:v>
                </c:pt>
                <c:pt idx="278">
                  <c:v>38.253677134714579</c:v>
                </c:pt>
                <c:pt idx="279">
                  <c:v>40.029431162721544</c:v>
                </c:pt>
                <c:pt idx="280">
                  <c:v>48.117059181576941</c:v>
                </c:pt>
                <c:pt idx="281">
                  <c:v>55.22129333070832</c:v>
                </c:pt>
                <c:pt idx="282">
                  <c:v>55.314542193142579</c:v>
                </c:pt>
                <c:pt idx="283">
                  <c:v>54.909506745513539</c:v>
                </c:pt>
                <c:pt idx="284">
                  <c:v>46.262435783333189</c:v>
                </c:pt>
                <c:pt idx="285">
                  <c:v>45.449897169607652</c:v>
                </c:pt>
                <c:pt idx="286">
                  <c:v>40.200235458521973</c:v>
                </c:pt>
                <c:pt idx="287">
                  <c:v>52.253213572634721</c:v>
                </c:pt>
                <c:pt idx="288">
                  <c:v>49.146569815159751</c:v>
                </c:pt>
                <c:pt idx="289">
                  <c:v>47.063383303572664</c:v>
                </c:pt>
                <c:pt idx="290">
                  <c:v>44.35955886883125</c:v>
                </c:pt>
                <c:pt idx="291">
                  <c:v>62.83235006217096</c:v>
                </c:pt>
                <c:pt idx="292">
                  <c:v>56.310717643371987</c:v>
                </c:pt>
                <c:pt idx="293">
                  <c:v>60.236510444189499</c:v>
                </c:pt>
                <c:pt idx="294">
                  <c:v>47.644256220222339</c:v>
                </c:pt>
                <c:pt idx="295">
                  <c:v>34.050023267515897</c:v>
                </c:pt>
                <c:pt idx="296">
                  <c:v>48.383123966360536</c:v>
                </c:pt>
                <c:pt idx="297">
                  <c:v>39.867185319763301</c:v>
                </c:pt>
                <c:pt idx="298">
                  <c:v>42.509174896915255</c:v>
                </c:pt>
                <c:pt idx="299">
                  <c:v>50.295991912404503</c:v>
                </c:pt>
                <c:pt idx="300">
                  <c:v>57.401491864773568</c:v>
                </c:pt>
                <c:pt idx="301">
                  <c:v>59.927687257376093</c:v>
                </c:pt>
                <c:pt idx="302">
                  <c:v>46.449191551821038</c:v>
                </c:pt>
                <c:pt idx="303">
                  <c:v>52.836834821990188</c:v>
                </c:pt>
                <c:pt idx="304">
                  <c:v>45.374366885787047</c:v>
                </c:pt>
                <c:pt idx="305">
                  <c:v>45.10099152795221</c:v>
                </c:pt>
                <c:pt idx="306">
                  <c:v>83.513234759878571</c:v>
                </c:pt>
                <c:pt idx="307">
                  <c:v>43.838324260128651</c:v>
                </c:pt>
                <c:pt idx="308">
                  <c:v>41.855890170144193</c:v>
                </c:pt>
                <c:pt idx="309">
                  <c:v>39.443508443728206</c:v>
                </c:pt>
                <c:pt idx="310">
                  <c:v>57.003566794608005</c:v>
                </c:pt>
                <c:pt idx="311">
                  <c:v>48.022981179357103</c:v>
                </c:pt>
                <c:pt idx="312">
                  <c:v>41.517980399361456</c:v>
                </c:pt>
                <c:pt idx="313">
                  <c:v>50.404242021008493</c:v>
                </c:pt>
                <c:pt idx="314">
                  <c:v>42.731187594661449</c:v>
                </c:pt>
                <c:pt idx="315">
                  <c:v>47.474956960203492</c:v>
                </c:pt>
                <c:pt idx="316">
                  <c:v>41.961856672284895</c:v>
                </c:pt>
                <c:pt idx="317">
                  <c:v>33.175586671220181</c:v>
                </c:pt>
                <c:pt idx="318">
                  <c:v>58.75814657219663</c:v>
                </c:pt>
                <c:pt idx="319">
                  <c:v>35.498267487334019</c:v>
                </c:pt>
                <c:pt idx="320">
                  <c:v>23.401054148662769</c:v>
                </c:pt>
                <c:pt idx="321">
                  <c:v>42.035271414104741</c:v>
                </c:pt>
                <c:pt idx="322">
                  <c:v>34.694958274747549</c:v>
                </c:pt>
                <c:pt idx="323">
                  <c:v>24.65031386280064</c:v>
                </c:pt>
                <c:pt idx="324">
                  <c:v>6.0716050403573805</c:v>
                </c:pt>
                <c:pt idx="325">
                  <c:v>42.664929040465744</c:v>
                </c:pt>
                <c:pt idx="326">
                  <c:v>30.289310742821435</c:v>
                </c:pt>
                <c:pt idx="327">
                  <c:v>34.598673596113294</c:v>
                </c:pt>
                <c:pt idx="328">
                  <c:v>19.802842896126169</c:v>
                </c:pt>
                <c:pt idx="329">
                  <c:v>25.953979496356197</c:v>
                </c:pt>
                <c:pt idx="330">
                  <c:v>43.329945719395276</c:v>
                </c:pt>
                <c:pt idx="331">
                  <c:v>4.9818134504274401</c:v>
                </c:pt>
                <c:pt idx="332">
                  <c:v>5.1966570944242987</c:v>
                </c:pt>
                <c:pt idx="333">
                  <c:v>5.4921646425424644</c:v>
                </c:pt>
                <c:pt idx="334">
                  <c:v>33.291375631347158</c:v>
                </c:pt>
                <c:pt idx="335">
                  <c:v>37.757609874644736</c:v>
                </c:pt>
                <c:pt idx="336">
                  <c:v>20.439308878835778</c:v>
                </c:pt>
                <c:pt idx="337">
                  <c:v>34.099365551216245</c:v>
                </c:pt>
                <c:pt idx="338">
                  <c:v>37.041963493461246</c:v>
                </c:pt>
                <c:pt idx="339">
                  <c:v>39.108912734979377</c:v>
                </c:pt>
                <c:pt idx="340">
                  <c:v>36.806925591119224</c:v>
                </c:pt>
                <c:pt idx="341">
                  <c:v>6.0964035375767072</c:v>
                </c:pt>
                <c:pt idx="342">
                  <c:v>6.2494815770964456</c:v>
                </c:pt>
                <c:pt idx="343">
                  <c:v>38.632910088340587</c:v>
                </c:pt>
                <c:pt idx="344">
                  <c:v>5.2775373566315311</c:v>
                </c:pt>
                <c:pt idx="345">
                  <c:v>21.699526654416299</c:v>
                </c:pt>
                <c:pt idx="346">
                  <c:v>6.2538998039970943</c:v>
                </c:pt>
                <c:pt idx="347">
                  <c:v>16.633178533885111</c:v>
                </c:pt>
                <c:pt idx="348">
                  <c:v>38.601570382067813</c:v>
                </c:pt>
                <c:pt idx="349">
                  <c:v>41.527925642361502</c:v>
                </c:pt>
                <c:pt idx="350">
                  <c:v>24.249450634469557</c:v>
                </c:pt>
                <c:pt idx="351">
                  <c:v>16.051608455649408</c:v>
                </c:pt>
                <c:pt idx="352">
                  <c:v>5.9239233605878692</c:v>
                </c:pt>
                <c:pt idx="353">
                  <c:v>24.227545103613135</c:v>
                </c:pt>
                <c:pt idx="354">
                  <c:v>36.992606763305446</c:v>
                </c:pt>
                <c:pt idx="355">
                  <c:v>21.351145432765243</c:v>
                </c:pt>
                <c:pt idx="356">
                  <c:v>27.469349988433958</c:v>
                </c:pt>
                <c:pt idx="357">
                  <c:v>28.475547335614223</c:v>
                </c:pt>
                <c:pt idx="358">
                  <c:v>34.922554640012791</c:v>
                </c:pt>
                <c:pt idx="359">
                  <c:v>32.370554566455276</c:v>
                </c:pt>
                <c:pt idx="360">
                  <c:v>36.060104354806342</c:v>
                </c:pt>
                <c:pt idx="361">
                  <c:v>30.616571831835419</c:v>
                </c:pt>
                <c:pt idx="362">
                  <c:v>38.432617595454921</c:v>
                </c:pt>
                <c:pt idx="363">
                  <c:v>38.705205322317596</c:v>
                </c:pt>
                <c:pt idx="364">
                  <c:v>36.308241181438596</c:v>
                </c:pt>
                <c:pt idx="365">
                  <c:v>37.944561189218682</c:v>
                </c:pt>
                <c:pt idx="366">
                  <c:v>34.345613034847062</c:v>
                </c:pt>
                <c:pt idx="367">
                  <c:v>34.837711272383224</c:v>
                </c:pt>
                <c:pt idx="368">
                  <c:v>38.90451121150204</c:v>
                </c:pt>
                <c:pt idx="369">
                  <c:v>28.794254970248339</c:v>
                </c:pt>
                <c:pt idx="370">
                  <c:v>11.086899115265451</c:v>
                </c:pt>
                <c:pt idx="371">
                  <c:v>11.086899115265451</c:v>
                </c:pt>
                <c:pt idx="372">
                  <c:v>10.29340412700002</c:v>
                </c:pt>
                <c:pt idx="373">
                  <c:v>10.235305009763085</c:v>
                </c:pt>
                <c:pt idx="374">
                  <c:v>10.235305009763085</c:v>
                </c:pt>
                <c:pt idx="375">
                  <c:v>7.8397036426976676</c:v>
                </c:pt>
                <c:pt idx="376">
                  <c:v>7.8397036426976676</c:v>
                </c:pt>
                <c:pt idx="377">
                  <c:v>7.8397036426976676</c:v>
                </c:pt>
                <c:pt idx="378">
                  <c:v>7.8397036426976676</c:v>
                </c:pt>
                <c:pt idx="379">
                  <c:v>7.8397036426976676</c:v>
                </c:pt>
                <c:pt idx="380">
                  <c:v>7.8397036426976676</c:v>
                </c:pt>
                <c:pt idx="381">
                  <c:v>7.8397036426976676</c:v>
                </c:pt>
                <c:pt idx="382">
                  <c:v>7.8397036426976676</c:v>
                </c:pt>
                <c:pt idx="383">
                  <c:v>7.8397036426976676</c:v>
                </c:pt>
                <c:pt idx="384">
                  <c:v>11.573878720218362</c:v>
                </c:pt>
                <c:pt idx="385">
                  <c:v>11.247070700436071</c:v>
                </c:pt>
                <c:pt idx="386">
                  <c:v>10.48920828295017</c:v>
                </c:pt>
                <c:pt idx="387">
                  <c:v>8.2810705768041686</c:v>
                </c:pt>
                <c:pt idx="388">
                  <c:v>9.2853546944936642</c:v>
                </c:pt>
                <c:pt idx="389">
                  <c:v>7.723200494284832</c:v>
                </c:pt>
                <c:pt idx="390">
                  <c:v>7.723200494284832</c:v>
                </c:pt>
                <c:pt idx="391">
                  <c:v>7.723200494284832</c:v>
                </c:pt>
                <c:pt idx="392">
                  <c:v>14.958295737259672</c:v>
                </c:pt>
                <c:pt idx="393">
                  <c:v>8.874700637330287</c:v>
                </c:pt>
                <c:pt idx="394">
                  <c:v>14.475103786494149</c:v>
                </c:pt>
                <c:pt idx="395">
                  <c:v>10.878116362775609</c:v>
                </c:pt>
                <c:pt idx="396">
                  <c:v>12.427978753482607</c:v>
                </c:pt>
                <c:pt idx="397">
                  <c:v>9.7892627110384147</c:v>
                </c:pt>
                <c:pt idx="398">
                  <c:v>8.7617736333197733</c:v>
                </c:pt>
                <c:pt idx="399">
                  <c:v>6.7583816604555258</c:v>
                </c:pt>
                <c:pt idx="400">
                  <c:v>14.389150138052827</c:v>
                </c:pt>
                <c:pt idx="401">
                  <c:v>10.905120453871115</c:v>
                </c:pt>
                <c:pt idx="402">
                  <c:v>14.662626065855092</c:v>
                </c:pt>
                <c:pt idx="403">
                  <c:v>15.275925352347119</c:v>
                </c:pt>
                <c:pt idx="404">
                  <c:v>11.094329536887384</c:v>
                </c:pt>
                <c:pt idx="405">
                  <c:v>12.865076320874063</c:v>
                </c:pt>
                <c:pt idx="406">
                  <c:v>13.829452973221754</c:v>
                </c:pt>
                <c:pt idx="407">
                  <c:v>12.626117698373525</c:v>
                </c:pt>
                <c:pt idx="408">
                  <c:v>10.515187570724747</c:v>
                </c:pt>
                <c:pt idx="409">
                  <c:v>16.035432776977544</c:v>
                </c:pt>
                <c:pt idx="410">
                  <c:v>14.203402188270831</c:v>
                </c:pt>
                <c:pt idx="411">
                  <c:v>10.727676986847401</c:v>
                </c:pt>
                <c:pt idx="412">
                  <c:v>11.095105394255324</c:v>
                </c:pt>
                <c:pt idx="413">
                  <c:v>12.147474224274445</c:v>
                </c:pt>
                <c:pt idx="414">
                  <c:v>10.873682245632857</c:v>
                </c:pt>
                <c:pt idx="415">
                  <c:v>14.94578416793083</c:v>
                </c:pt>
                <c:pt idx="416">
                  <c:v>9.3625726477121383</c:v>
                </c:pt>
                <c:pt idx="417">
                  <c:v>12.176947913573644</c:v>
                </c:pt>
                <c:pt idx="418">
                  <c:v>10.0144959829353</c:v>
                </c:pt>
                <c:pt idx="419">
                  <c:v>13.147805526075253</c:v>
                </c:pt>
                <c:pt idx="420">
                  <c:v>15.187338862334672</c:v>
                </c:pt>
                <c:pt idx="421">
                  <c:v>12.101398098725141</c:v>
                </c:pt>
                <c:pt idx="422">
                  <c:v>14.817950889077053</c:v>
                </c:pt>
                <c:pt idx="423">
                  <c:v>14.914020670832649</c:v>
                </c:pt>
                <c:pt idx="424">
                  <c:v>12.506259142195686</c:v>
                </c:pt>
                <c:pt idx="425">
                  <c:v>16.975277206276779</c:v>
                </c:pt>
                <c:pt idx="426">
                  <c:v>8.1517031964866149</c:v>
                </c:pt>
                <c:pt idx="427">
                  <c:v>14.274126226590433</c:v>
                </c:pt>
                <c:pt idx="428">
                  <c:v>14.842733560648945</c:v>
                </c:pt>
                <c:pt idx="429">
                  <c:v>15.572874129649367</c:v>
                </c:pt>
                <c:pt idx="430">
                  <c:v>10.508443534379873</c:v>
                </c:pt>
                <c:pt idx="431">
                  <c:v>14.003052665481075</c:v>
                </c:pt>
                <c:pt idx="432">
                  <c:v>17.314301135101701</c:v>
                </c:pt>
                <c:pt idx="433">
                  <c:v>10.610813607477143</c:v>
                </c:pt>
                <c:pt idx="434">
                  <c:v>10.818726609913069</c:v>
                </c:pt>
                <c:pt idx="435">
                  <c:v>14.175887321947059</c:v>
                </c:pt>
                <c:pt idx="436">
                  <c:v>13.520990818207158</c:v>
                </c:pt>
                <c:pt idx="437">
                  <c:v>12.445309089207477</c:v>
                </c:pt>
                <c:pt idx="438">
                  <c:v>15.659235757021662</c:v>
                </c:pt>
                <c:pt idx="439">
                  <c:v>11.91412846088248</c:v>
                </c:pt>
                <c:pt idx="440">
                  <c:v>13.215430548154915</c:v>
                </c:pt>
                <c:pt idx="441">
                  <c:v>13.491017914898658</c:v>
                </c:pt>
                <c:pt idx="442">
                  <c:v>12.169785052388491</c:v>
                </c:pt>
                <c:pt idx="443">
                  <c:v>13.128452454784297</c:v>
                </c:pt>
                <c:pt idx="444">
                  <c:v>12.567418966329789</c:v>
                </c:pt>
                <c:pt idx="445">
                  <c:v>10.281702189262285</c:v>
                </c:pt>
                <c:pt idx="446">
                  <c:v>11.832073748405513</c:v>
                </c:pt>
                <c:pt idx="447">
                  <c:v>13.868371403861953</c:v>
                </c:pt>
                <c:pt idx="448">
                  <c:v>7.9353511121394584</c:v>
                </c:pt>
                <c:pt idx="449">
                  <c:v>14.032826419134537</c:v>
                </c:pt>
                <c:pt idx="450">
                  <c:v>13.063002337754899</c:v>
                </c:pt>
                <c:pt idx="451">
                  <c:v>13.67546053480897</c:v>
                </c:pt>
                <c:pt idx="452">
                  <c:v>12.265574212856775</c:v>
                </c:pt>
                <c:pt idx="453">
                  <c:v>13.465760455515602</c:v>
                </c:pt>
                <c:pt idx="454">
                  <c:v>10.255951631291154</c:v>
                </c:pt>
                <c:pt idx="455">
                  <c:v>15.88355088125344</c:v>
                </c:pt>
                <c:pt idx="456">
                  <c:v>12.091088213053034</c:v>
                </c:pt>
                <c:pt idx="457">
                  <c:v>13.282004583885421</c:v>
                </c:pt>
                <c:pt idx="458">
                  <c:v>14.613490706988991</c:v>
                </c:pt>
                <c:pt idx="459">
                  <c:v>14.613490706988991</c:v>
                </c:pt>
                <c:pt idx="460">
                  <c:v>14.613490706988991</c:v>
                </c:pt>
                <c:pt idx="461">
                  <c:v>12.435949104726813</c:v>
                </c:pt>
                <c:pt idx="462">
                  <c:v>9.4451289014521702</c:v>
                </c:pt>
                <c:pt idx="463">
                  <c:v>8.6618170533854144</c:v>
                </c:pt>
                <c:pt idx="464">
                  <c:v>10.335360930182484</c:v>
                </c:pt>
                <c:pt idx="465">
                  <c:v>8.8863447612961188</c:v>
                </c:pt>
                <c:pt idx="466">
                  <c:v>10.263783337281469</c:v>
                </c:pt>
                <c:pt idx="467">
                  <c:v>68.571988342761983</c:v>
                </c:pt>
                <c:pt idx="468">
                  <c:v>62.806180128124602</c:v>
                </c:pt>
                <c:pt idx="469">
                  <c:v>52.909652988261612</c:v>
                </c:pt>
                <c:pt idx="470">
                  <c:v>62.886819446700805</c:v>
                </c:pt>
                <c:pt idx="471">
                  <c:v>47.275984062740484</c:v>
                </c:pt>
                <c:pt idx="472">
                  <c:v>57.241858299687841</c:v>
                </c:pt>
                <c:pt idx="473">
                  <c:v>67.772222772509508</c:v>
                </c:pt>
                <c:pt idx="474">
                  <c:v>74.022145684291189</c:v>
                </c:pt>
                <c:pt idx="475">
                  <c:v>49.093676189021558</c:v>
                </c:pt>
                <c:pt idx="476">
                  <c:v>63.444198961007935</c:v>
                </c:pt>
                <c:pt idx="477">
                  <c:v>69.206329233382618</c:v>
                </c:pt>
                <c:pt idx="478">
                  <c:v>58.194636117253879</c:v>
                </c:pt>
                <c:pt idx="479">
                  <c:v>39.657545431217486</c:v>
                </c:pt>
                <c:pt idx="480">
                  <c:v>17.421626134583402</c:v>
                </c:pt>
                <c:pt idx="481">
                  <c:v>12.848489582958585</c:v>
                </c:pt>
                <c:pt idx="482">
                  <c:v>12.323818411896742</c:v>
                </c:pt>
                <c:pt idx="483">
                  <c:v>14.993880622470954</c:v>
                </c:pt>
                <c:pt idx="484">
                  <c:v>9.1198040907476035</c:v>
                </c:pt>
                <c:pt idx="485">
                  <c:v>8.4962579293982206</c:v>
                </c:pt>
                <c:pt idx="486">
                  <c:v>6.1040040910391866</c:v>
                </c:pt>
                <c:pt idx="487">
                  <c:v>7.6834716998528618</c:v>
                </c:pt>
                <c:pt idx="488">
                  <c:v>8.3621828642148746</c:v>
                </c:pt>
                <c:pt idx="489">
                  <c:v>7.0015660169324541</c:v>
                </c:pt>
                <c:pt idx="490">
                  <c:v>8.0030426806077131</c:v>
                </c:pt>
                <c:pt idx="491">
                  <c:v>8.1104077175690605</c:v>
                </c:pt>
                <c:pt idx="492">
                  <c:v>8.995462328982768</c:v>
                </c:pt>
                <c:pt idx="493">
                  <c:v>6.1648842322810955</c:v>
                </c:pt>
                <c:pt idx="494">
                  <c:v>6.434803753725836</c:v>
                </c:pt>
                <c:pt idx="495">
                  <c:v>4.9597942545082043</c:v>
                </c:pt>
                <c:pt idx="496">
                  <c:v>8.1053287470681497</c:v>
                </c:pt>
                <c:pt idx="497">
                  <c:v>5.9371679988041848</c:v>
                </c:pt>
                <c:pt idx="498">
                  <c:v>7.6343656655357846</c:v>
                </c:pt>
                <c:pt idx="499">
                  <c:v>6.1625405754645257</c:v>
                </c:pt>
                <c:pt idx="500">
                  <c:v>8.3337861357133747</c:v>
                </c:pt>
                <c:pt idx="501">
                  <c:v>7.6248438206706055</c:v>
                </c:pt>
                <c:pt idx="502">
                  <c:v>7.405882344228373</c:v>
                </c:pt>
                <c:pt idx="503">
                  <c:v>6.9257429135069488</c:v>
                </c:pt>
                <c:pt idx="504">
                  <c:v>6.7409086809101</c:v>
                </c:pt>
                <c:pt idx="505">
                  <c:v>5.1316640671580878</c:v>
                </c:pt>
                <c:pt idx="506">
                  <c:v>9.1706739454917141</c:v>
                </c:pt>
                <c:pt idx="507">
                  <c:v>6.6561781435314051</c:v>
                </c:pt>
                <c:pt idx="508">
                  <c:v>8.6080937039654124</c:v>
                </c:pt>
                <c:pt idx="509">
                  <c:v>6.8725074274624021</c:v>
                </c:pt>
                <c:pt idx="510">
                  <c:v>6.5283479000118234</c:v>
                </c:pt>
                <c:pt idx="511">
                  <c:v>5.1321908007404469</c:v>
                </c:pt>
                <c:pt idx="512">
                  <c:v>9.0872741812365962</c:v>
                </c:pt>
                <c:pt idx="513">
                  <c:v>7.7351158790677923</c:v>
                </c:pt>
                <c:pt idx="514">
                  <c:v>7.8018223638528807</c:v>
                </c:pt>
                <c:pt idx="515">
                  <c:v>5.8401606433520961</c:v>
                </c:pt>
                <c:pt idx="516">
                  <c:v>6.8448266979943577</c:v>
                </c:pt>
                <c:pt idx="517">
                  <c:v>8.4258711010238958</c:v>
                </c:pt>
                <c:pt idx="518">
                  <c:v>9.6631204303103502</c:v>
                </c:pt>
                <c:pt idx="519">
                  <c:v>6.8548874445520775</c:v>
                </c:pt>
                <c:pt idx="520">
                  <c:v>6.155049808030836</c:v>
                </c:pt>
                <c:pt idx="521">
                  <c:v>9.5028753507840236</c:v>
                </c:pt>
                <c:pt idx="522">
                  <c:v>6.2493086702283565</c:v>
                </c:pt>
                <c:pt idx="523">
                  <c:v>8.6448525600748489</c:v>
                </c:pt>
                <c:pt idx="524">
                  <c:v>6.5035017934261923</c:v>
                </c:pt>
                <c:pt idx="525">
                  <c:v>7.7435851172940193</c:v>
                </c:pt>
                <c:pt idx="526">
                  <c:v>8.1317431093641837</c:v>
                </c:pt>
                <c:pt idx="527">
                  <c:v>6.5891236630256262</c:v>
                </c:pt>
                <c:pt idx="528">
                  <c:v>6.8810157689944704</c:v>
                </c:pt>
                <c:pt idx="529">
                  <c:v>6.1646900182961506</c:v>
                </c:pt>
                <c:pt idx="530">
                  <c:v>5.7967635380997118</c:v>
                </c:pt>
                <c:pt idx="531">
                  <c:v>9.3320337612243627</c:v>
                </c:pt>
                <c:pt idx="532">
                  <c:v>8.5549297782847358</c:v>
                </c:pt>
                <c:pt idx="533">
                  <c:v>8.1748222905108889</c:v>
                </c:pt>
                <c:pt idx="534">
                  <c:v>6.6088320431424554</c:v>
                </c:pt>
                <c:pt idx="535">
                  <c:v>7.1643991885992264</c:v>
                </c:pt>
                <c:pt idx="536">
                  <c:v>9.7980726102500899</c:v>
                </c:pt>
                <c:pt idx="537">
                  <c:v>8.4781937171423909</c:v>
                </c:pt>
                <c:pt idx="538">
                  <c:v>7.8734098843503455</c:v>
                </c:pt>
                <c:pt idx="539">
                  <c:v>8.4659250046033474</c:v>
                </c:pt>
                <c:pt idx="540">
                  <c:v>6.8921212534519549</c:v>
                </c:pt>
                <c:pt idx="541">
                  <c:v>7.5529919632732332</c:v>
                </c:pt>
                <c:pt idx="542">
                  <c:v>5.036032814789821</c:v>
                </c:pt>
                <c:pt idx="543">
                  <c:v>27.37401111384851</c:v>
                </c:pt>
                <c:pt idx="544">
                  <c:v>27.938540797952665</c:v>
                </c:pt>
                <c:pt idx="545">
                  <c:v>23.838822316770269</c:v>
                </c:pt>
                <c:pt idx="546">
                  <c:v>47.81755072879573</c:v>
                </c:pt>
                <c:pt idx="547">
                  <c:v>47.931438869840584</c:v>
                </c:pt>
                <c:pt idx="548">
                  <c:v>52.763569548592145</c:v>
                </c:pt>
                <c:pt idx="549">
                  <c:v>79.356531892823341</c:v>
                </c:pt>
                <c:pt idx="550">
                  <c:v>29.719522011020988</c:v>
                </c:pt>
                <c:pt idx="551">
                  <c:v>75.031888552634868</c:v>
                </c:pt>
                <c:pt idx="552">
                  <c:v>34.547863473753125</c:v>
                </c:pt>
                <c:pt idx="553">
                  <c:v>58.002621718501672</c:v>
                </c:pt>
                <c:pt idx="554">
                  <c:v>70.553373627148929</c:v>
                </c:pt>
                <c:pt idx="555">
                  <c:v>30.412171820081589</c:v>
                </c:pt>
                <c:pt idx="556">
                  <c:v>30.412171820081589</c:v>
                </c:pt>
                <c:pt idx="557">
                  <c:v>54.365948069646407</c:v>
                </c:pt>
                <c:pt idx="558">
                  <c:v>46.704528471080557</c:v>
                </c:pt>
                <c:pt idx="559">
                  <c:v>80.53475074494645</c:v>
                </c:pt>
                <c:pt idx="560">
                  <c:v>7.5115339603961884</c:v>
                </c:pt>
                <c:pt idx="561">
                  <c:v>8.3108436866298163</c:v>
                </c:pt>
                <c:pt idx="562">
                  <c:v>6.7971591758735803</c:v>
                </c:pt>
                <c:pt idx="563">
                  <c:v>8.1602131744416191</c:v>
                </c:pt>
                <c:pt idx="564">
                  <c:v>7.7998444957318434</c:v>
                </c:pt>
                <c:pt idx="565">
                  <c:v>7.0938563302558997</c:v>
                </c:pt>
                <c:pt idx="566">
                  <c:v>6.5032966294497454</c:v>
                </c:pt>
                <c:pt idx="567">
                  <c:v>6.3367742017248698</c:v>
                </c:pt>
                <c:pt idx="568">
                  <c:v>7.9703593721178621</c:v>
                </c:pt>
                <c:pt idx="569">
                  <c:v>10.202407604956248</c:v>
                </c:pt>
                <c:pt idx="570">
                  <c:v>9.6192693203024309</c:v>
                </c:pt>
                <c:pt idx="571">
                  <c:v>8.2097731378461951</c:v>
                </c:pt>
                <c:pt idx="572">
                  <c:v>8.0538670642709107</c:v>
                </c:pt>
                <c:pt idx="573">
                  <c:v>8.1349369101747033</c:v>
                </c:pt>
                <c:pt idx="574">
                  <c:v>6.1774896827794015</c:v>
                </c:pt>
                <c:pt idx="575">
                  <c:v>7.7728647264695105</c:v>
                </c:pt>
                <c:pt idx="576">
                  <c:v>6.9637357656888614</c:v>
                </c:pt>
                <c:pt idx="577">
                  <c:v>10.174333287679273</c:v>
                </c:pt>
                <c:pt idx="578">
                  <c:v>7.0837679168729952</c:v>
                </c:pt>
                <c:pt idx="579">
                  <c:v>6.8261025793930346</c:v>
                </c:pt>
                <c:pt idx="580">
                  <c:v>6.825377627668006</c:v>
                </c:pt>
                <c:pt idx="581">
                  <c:v>8.0060438352734646</c:v>
                </c:pt>
                <c:pt idx="582">
                  <c:v>7.2917710061531036</c:v>
                </c:pt>
                <c:pt idx="583">
                  <c:v>6.3441489324207154</c:v>
                </c:pt>
                <c:pt idx="584">
                  <c:v>7.8140901440881008</c:v>
                </c:pt>
                <c:pt idx="585">
                  <c:v>7.3020877000647557</c:v>
                </c:pt>
                <c:pt idx="586">
                  <c:v>7.7810808465971588</c:v>
                </c:pt>
                <c:pt idx="587">
                  <c:v>6.5606964559117742</c:v>
                </c:pt>
                <c:pt idx="588">
                  <c:v>7.1301029892447492</c:v>
                </c:pt>
                <c:pt idx="589">
                  <c:v>8.5961794280532011</c:v>
                </c:pt>
                <c:pt idx="590">
                  <c:v>7.6499778150643367</c:v>
                </c:pt>
                <c:pt idx="591">
                  <c:v>8.6100190281420517</c:v>
                </c:pt>
                <c:pt idx="592">
                  <c:v>7.1658634643674031</c:v>
                </c:pt>
                <c:pt idx="593">
                  <c:v>8.6566096099908822</c:v>
                </c:pt>
                <c:pt idx="594">
                  <c:v>8.0432939037077826</c:v>
                </c:pt>
                <c:pt idx="595">
                  <c:v>5.4161429734306328</c:v>
                </c:pt>
                <c:pt idx="596">
                  <c:v>5.6400223107408882</c:v>
                </c:pt>
                <c:pt idx="597">
                  <c:v>7.4259116791768527</c:v>
                </c:pt>
                <c:pt idx="598">
                  <c:v>8.7204866031524571</c:v>
                </c:pt>
                <c:pt idx="599">
                  <c:v>8.4581121753874147</c:v>
                </c:pt>
                <c:pt idx="600">
                  <c:v>7.9814663411153788</c:v>
                </c:pt>
                <c:pt idx="601">
                  <c:v>5.8651924614029607</c:v>
                </c:pt>
                <c:pt idx="602">
                  <c:v>7.4109317171573439</c:v>
                </c:pt>
                <c:pt idx="603">
                  <c:v>8.6876936553017785</c:v>
                </c:pt>
                <c:pt idx="604">
                  <c:v>5.7992258309669271</c:v>
                </c:pt>
                <c:pt idx="605">
                  <c:v>6.0320708757360499</c:v>
                </c:pt>
                <c:pt idx="606">
                  <c:v>6.9950105172897707</c:v>
                </c:pt>
                <c:pt idx="607">
                  <c:v>8.5233380043330129</c:v>
                </c:pt>
                <c:pt idx="608">
                  <c:v>6.7226104773345732</c:v>
                </c:pt>
                <c:pt idx="609">
                  <c:v>7.0437376664153462</c:v>
                </c:pt>
                <c:pt idx="610">
                  <c:v>6.4652587703659696</c:v>
                </c:pt>
                <c:pt idx="611">
                  <c:v>7.0363816111202979</c:v>
                </c:pt>
                <c:pt idx="612">
                  <c:v>6.4772073243026664</c:v>
                </c:pt>
                <c:pt idx="613">
                  <c:v>7.6214138865971721</c:v>
                </c:pt>
                <c:pt idx="614">
                  <c:v>5.499606778115365</c:v>
                </c:pt>
                <c:pt idx="615">
                  <c:v>7.5571319172947486</c:v>
                </c:pt>
                <c:pt idx="616">
                  <c:v>7.1754356709276319</c:v>
                </c:pt>
                <c:pt idx="617">
                  <c:v>6.2611167432175154</c:v>
                </c:pt>
                <c:pt idx="618">
                  <c:v>6.4524814337179111</c:v>
                </c:pt>
                <c:pt idx="619">
                  <c:v>8.1168364494657599</c:v>
                </c:pt>
                <c:pt idx="620">
                  <c:v>8.0853112285070665</c:v>
                </c:pt>
                <c:pt idx="621">
                  <c:v>6.4761533462446241</c:v>
                </c:pt>
                <c:pt idx="622">
                  <c:v>7.2198817772127759</c:v>
                </c:pt>
                <c:pt idx="623">
                  <c:v>5.1324426834463326</c:v>
                </c:pt>
                <c:pt idx="624">
                  <c:v>6.4779824712272305</c:v>
                </c:pt>
                <c:pt idx="625">
                  <c:v>7.1781190956069292</c:v>
                </c:pt>
                <c:pt idx="626">
                  <c:v>6.9443402793402544</c:v>
                </c:pt>
                <c:pt idx="627">
                  <c:v>7.3937503290218896</c:v>
                </c:pt>
                <c:pt idx="628">
                  <c:v>7.428836744169435</c:v>
                </c:pt>
                <c:pt idx="629">
                  <c:v>8.4321505251297424</c:v>
                </c:pt>
                <c:pt idx="630">
                  <c:v>7.1462015651896511</c:v>
                </c:pt>
                <c:pt idx="631">
                  <c:v>7.8812491212407227</c:v>
                </c:pt>
                <c:pt idx="632">
                  <c:v>8.5162433147489978</c:v>
                </c:pt>
                <c:pt idx="633">
                  <c:v>7.231205951108949</c:v>
                </c:pt>
                <c:pt idx="634">
                  <c:v>6.5376914254908112</c:v>
                </c:pt>
                <c:pt idx="635">
                  <c:v>5.4881048216467034</c:v>
                </c:pt>
                <c:pt idx="636">
                  <c:v>6.7035548392683069</c:v>
                </c:pt>
                <c:pt idx="637">
                  <c:v>4.4661024140334398</c:v>
                </c:pt>
                <c:pt idx="638">
                  <c:v>6.6666222225185168</c:v>
                </c:pt>
                <c:pt idx="639">
                  <c:v>6.634689307175333</c:v>
                </c:pt>
                <c:pt idx="640">
                  <c:v>4.7578507222801099</c:v>
                </c:pt>
                <c:pt idx="641">
                  <c:v>10.167443265666577</c:v>
                </c:pt>
                <c:pt idx="642">
                  <c:v>12.259873254545619</c:v>
                </c:pt>
                <c:pt idx="643">
                  <c:v>9.4535054543575292</c:v>
                </c:pt>
                <c:pt idx="644">
                  <c:v>9.4535054543575292</c:v>
                </c:pt>
                <c:pt idx="645">
                  <c:v>9.4535054543575292</c:v>
                </c:pt>
                <c:pt idx="646">
                  <c:v>9.4535054543575292</c:v>
                </c:pt>
                <c:pt idx="647">
                  <c:v>27.366374175873045</c:v>
                </c:pt>
                <c:pt idx="648">
                  <c:v>27.366374175873045</c:v>
                </c:pt>
                <c:pt idx="649">
                  <c:v>15.656794973259711</c:v>
                </c:pt>
                <c:pt idx="650">
                  <c:v>11.773336777034341</c:v>
                </c:pt>
                <c:pt idx="651">
                  <c:v>22.433294598511324</c:v>
                </c:pt>
                <c:pt idx="652">
                  <c:v>8.604433114965774</c:v>
                </c:pt>
                <c:pt idx="653">
                  <c:v>7.9030677450967115</c:v>
                </c:pt>
                <c:pt idx="654">
                  <c:v>9.2992033198155841</c:v>
                </c:pt>
                <c:pt idx="655">
                  <c:v>19.924299382522523</c:v>
                </c:pt>
                <c:pt idx="656">
                  <c:v>9.2992033198155841</c:v>
                </c:pt>
                <c:pt idx="657">
                  <c:v>5.3965711847175752</c:v>
                </c:pt>
                <c:pt idx="658">
                  <c:v>15.346456847086317</c:v>
                </c:pt>
                <c:pt idx="659">
                  <c:v>9.1808409472613999</c:v>
                </c:pt>
                <c:pt idx="660">
                  <c:v>8.5089666781774085</c:v>
                </c:pt>
                <c:pt idx="661">
                  <c:v>8.5045494023959431</c:v>
                </c:pt>
                <c:pt idx="662">
                  <c:v>7.9320609461489218</c:v>
                </c:pt>
                <c:pt idx="663">
                  <c:v>7.9319200132494787</c:v>
                </c:pt>
                <c:pt idx="664">
                  <c:v>8.5366254063105362</c:v>
                </c:pt>
                <c:pt idx="665">
                  <c:v>8.3898980258234346</c:v>
                </c:pt>
                <c:pt idx="666">
                  <c:v>7.95931959915593</c:v>
                </c:pt>
                <c:pt idx="667">
                  <c:v>8.3301706452117017</c:v>
                </c:pt>
                <c:pt idx="668">
                  <c:v>6.5693994090825232</c:v>
                </c:pt>
                <c:pt idx="669">
                  <c:v>8.6019788680346334</c:v>
                </c:pt>
                <c:pt idx="670">
                  <c:v>7.9379544082000972</c:v>
                </c:pt>
                <c:pt idx="671">
                  <c:v>7.4267695206729192</c:v>
                </c:pt>
                <c:pt idx="672">
                  <c:v>8.4127910663924528</c:v>
                </c:pt>
                <c:pt idx="673">
                  <c:v>8.1026689178581801</c:v>
                </c:pt>
                <c:pt idx="674">
                  <c:v>9.0617401730864859</c:v>
                </c:pt>
                <c:pt idx="675">
                  <c:v>7.5817406412888957</c:v>
                </c:pt>
                <c:pt idx="676">
                  <c:v>7.1119997724160076</c:v>
                </c:pt>
                <c:pt idx="677">
                  <c:v>8.9283292108490198</c:v>
                </c:pt>
                <c:pt idx="678">
                  <c:v>9.567601126000346</c:v>
                </c:pt>
                <c:pt idx="679">
                  <c:v>7.1685417917715064</c:v>
                </c:pt>
                <c:pt idx="680">
                  <c:v>8.9259647015287573</c:v>
                </c:pt>
                <c:pt idx="681">
                  <c:v>7.2020684340542607</c:v>
                </c:pt>
                <c:pt idx="682">
                  <c:v>6.8364998239601302</c:v>
                </c:pt>
                <c:pt idx="683">
                  <c:v>7.113495497319021</c:v>
                </c:pt>
                <c:pt idx="684">
                  <c:v>9.1764132410504278</c:v>
                </c:pt>
                <c:pt idx="685">
                  <c:v>8.1213498593057345</c:v>
                </c:pt>
                <c:pt idx="686">
                  <c:v>7.9838711916934413</c:v>
                </c:pt>
                <c:pt idx="687">
                  <c:v>8.3272010180157441</c:v>
                </c:pt>
                <c:pt idx="688">
                  <c:v>7.3230030170772435</c:v>
                </c:pt>
                <c:pt idx="689">
                  <c:v>8.9646107051396768</c:v>
                </c:pt>
                <c:pt idx="690">
                  <c:v>8.2292714527231645</c:v>
                </c:pt>
                <c:pt idx="691">
                  <c:v>8.0997038325685562</c:v>
                </c:pt>
                <c:pt idx="692">
                  <c:v>8.5859217961220029</c:v>
                </c:pt>
                <c:pt idx="693">
                  <c:v>9.3676885191108337</c:v>
                </c:pt>
                <c:pt idx="694">
                  <c:v>8.0435288972154311</c:v>
                </c:pt>
                <c:pt idx="695">
                  <c:v>8.6157353322690238</c:v>
                </c:pt>
                <c:pt idx="696">
                  <c:v>6.9739754482854819</c:v>
                </c:pt>
                <c:pt idx="697">
                  <c:v>8.801636833631461</c:v>
                </c:pt>
                <c:pt idx="698">
                  <c:v>7.8817759874469591</c:v>
                </c:pt>
                <c:pt idx="699">
                  <c:v>8.2028708786095006</c:v>
                </c:pt>
                <c:pt idx="700">
                  <c:v>6.138612093289046</c:v>
                </c:pt>
                <c:pt idx="701">
                  <c:v>9.1928110803073366</c:v>
                </c:pt>
                <c:pt idx="702">
                  <c:v>6.7373619121531423</c:v>
                </c:pt>
                <c:pt idx="703">
                  <c:v>8.7350181839561234</c:v>
                </c:pt>
                <c:pt idx="704">
                  <c:v>9.3373330637477689</c:v>
                </c:pt>
                <c:pt idx="705">
                  <c:v>9.6213091215013549</c:v>
                </c:pt>
                <c:pt idx="706">
                  <c:v>9.6620691321046408</c:v>
                </c:pt>
                <c:pt idx="707">
                  <c:v>8.2305386539333902</c:v>
                </c:pt>
                <c:pt idx="708">
                  <c:v>7.3993193912998159</c:v>
                </c:pt>
                <c:pt idx="709">
                  <c:v>10.139942472726371</c:v>
                </c:pt>
                <c:pt idx="710">
                  <c:v>8.6999555967650881</c:v>
                </c:pt>
                <c:pt idx="711">
                  <c:v>8.4294572441069668</c:v>
                </c:pt>
                <c:pt idx="712">
                  <c:v>7.3464972360334677</c:v>
                </c:pt>
                <c:pt idx="713">
                  <c:v>6.5573319003377355</c:v>
                </c:pt>
                <c:pt idx="714">
                  <c:v>11.578313201862873</c:v>
                </c:pt>
                <c:pt idx="715">
                  <c:v>7.870840142921864</c:v>
                </c:pt>
                <c:pt idx="716">
                  <c:v>8.2290097638989774</c:v>
                </c:pt>
                <c:pt idx="717">
                  <c:v>8.2997711338109852</c:v>
                </c:pt>
                <c:pt idx="718">
                  <c:v>8.9465967318082136</c:v>
                </c:pt>
                <c:pt idx="719">
                  <c:v>7.8978634562424022</c:v>
                </c:pt>
                <c:pt idx="720">
                  <c:v>15.071417731886754</c:v>
                </c:pt>
                <c:pt idx="721">
                  <c:v>15.071417731886754</c:v>
                </c:pt>
                <c:pt idx="722">
                  <c:v>7.1906034122428615</c:v>
                </c:pt>
                <c:pt idx="723">
                  <c:v>6.7074276322650634</c:v>
                </c:pt>
                <c:pt idx="724">
                  <c:v>7.6821280036838067</c:v>
                </c:pt>
                <c:pt idx="725">
                  <c:v>19.613539716805004</c:v>
                </c:pt>
                <c:pt idx="726">
                  <c:v>19.001929254699622</c:v>
                </c:pt>
                <c:pt idx="727">
                  <c:v>19.001929254699622</c:v>
                </c:pt>
                <c:pt idx="728">
                  <c:v>19.001929254699622</c:v>
                </c:pt>
                <c:pt idx="729">
                  <c:v>21.688902043987643</c:v>
                </c:pt>
                <c:pt idx="730">
                  <c:v>21.688902043987643</c:v>
                </c:pt>
                <c:pt idx="731">
                  <c:v>7.554012963158371</c:v>
                </c:pt>
                <c:pt idx="732">
                  <c:v>7.0589532895825293</c:v>
                </c:pt>
                <c:pt idx="733">
                  <c:v>7.2740290405217971</c:v>
                </c:pt>
                <c:pt idx="734">
                  <c:v>7.554012963158371</c:v>
                </c:pt>
                <c:pt idx="735">
                  <c:v>7.554012963158371</c:v>
                </c:pt>
                <c:pt idx="736">
                  <c:v>18.62447756885382</c:v>
                </c:pt>
                <c:pt idx="737">
                  <c:v>9.5249916433081125</c:v>
                </c:pt>
                <c:pt idx="738">
                  <c:v>14.764906959653226</c:v>
                </c:pt>
                <c:pt idx="739">
                  <c:v>13.816593193589634</c:v>
                </c:pt>
                <c:pt idx="740">
                  <c:v>10.80693345833353</c:v>
                </c:pt>
                <c:pt idx="741">
                  <c:v>10.570747702018551</c:v>
                </c:pt>
                <c:pt idx="742">
                  <c:v>15.93695764541013</c:v>
                </c:pt>
                <c:pt idx="743">
                  <c:v>15.93695764541013</c:v>
                </c:pt>
                <c:pt idx="744">
                  <c:v>11.693166473191802</c:v>
                </c:pt>
                <c:pt idx="745">
                  <c:v>9.7382818713226715</c:v>
                </c:pt>
                <c:pt idx="746">
                  <c:v>13.28658354010579</c:v>
                </c:pt>
                <c:pt idx="747">
                  <c:v>9.197087452720158</c:v>
                </c:pt>
                <c:pt idx="748">
                  <c:v>13.259706905609633</c:v>
                </c:pt>
                <c:pt idx="749">
                  <c:v>6.6873162887826352</c:v>
                </c:pt>
                <c:pt idx="750">
                  <c:v>8.5942830274831312</c:v>
                </c:pt>
                <c:pt idx="751">
                  <c:v>10.488155996095699</c:v>
                </c:pt>
                <c:pt idx="752">
                  <c:v>18.961719448719609</c:v>
                </c:pt>
                <c:pt idx="753">
                  <c:v>15.077434404914865</c:v>
                </c:pt>
                <c:pt idx="754">
                  <c:v>5.4108806316445612</c:v>
                </c:pt>
                <c:pt idx="755">
                  <c:v>5.9853741397521016</c:v>
                </c:pt>
                <c:pt idx="756">
                  <c:v>26.127256645736686</c:v>
                </c:pt>
                <c:pt idx="757">
                  <c:v>5.829895668551484</c:v>
                </c:pt>
                <c:pt idx="758">
                  <c:v>18.66991990020928</c:v>
                </c:pt>
                <c:pt idx="759">
                  <c:v>5.5211012546308238</c:v>
                </c:pt>
                <c:pt idx="760">
                  <c:v>17.772543434615109</c:v>
                </c:pt>
                <c:pt idx="761">
                  <c:v>14.324678690742275</c:v>
                </c:pt>
                <c:pt idx="762">
                  <c:v>14.317503101355912</c:v>
                </c:pt>
                <c:pt idx="763">
                  <c:v>23.951022476875675</c:v>
                </c:pt>
                <c:pt idx="764">
                  <c:v>7.4281729440730606</c:v>
                </c:pt>
                <c:pt idx="765">
                  <c:v>4.7316938499445209</c:v>
                </c:pt>
                <c:pt idx="766">
                  <c:v>12.191264923849875</c:v>
                </c:pt>
                <c:pt idx="767">
                  <c:v>23.291843797381997</c:v>
                </c:pt>
                <c:pt idx="768">
                  <c:v>14.414444096667381</c:v>
                </c:pt>
                <c:pt idx="769">
                  <c:v>19.994053381542649</c:v>
                </c:pt>
                <c:pt idx="770">
                  <c:v>5.9510788855180135</c:v>
                </c:pt>
                <c:pt idx="771">
                  <c:v>16.096749233739231</c:v>
                </c:pt>
                <c:pt idx="772">
                  <c:v>14.053299480496364</c:v>
                </c:pt>
                <c:pt idx="773">
                  <c:v>5.380581052534918</c:v>
                </c:pt>
                <c:pt idx="774">
                  <c:v>19.517944546371488</c:v>
                </c:pt>
                <c:pt idx="775">
                  <c:v>9.8274468798417729</c:v>
                </c:pt>
                <c:pt idx="776">
                  <c:v>26.355996029029932</c:v>
                </c:pt>
                <c:pt idx="777">
                  <c:v>18.958860626644512</c:v>
                </c:pt>
                <c:pt idx="778">
                  <c:v>17.896258966025741</c:v>
                </c:pt>
                <c:pt idx="779">
                  <c:v>15.235918678284056</c:v>
                </c:pt>
                <c:pt idx="780">
                  <c:v>18.958860626644512</c:v>
                </c:pt>
                <c:pt idx="781">
                  <c:v>19.547836814658272</c:v>
                </c:pt>
                <c:pt idx="782">
                  <c:v>18.958860626644512</c:v>
                </c:pt>
                <c:pt idx="783">
                  <c:v>17.225527370286397</c:v>
                </c:pt>
                <c:pt idx="784">
                  <c:v>19.517944546371488</c:v>
                </c:pt>
                <c:pt idx="785">
                  <c:v>7.7690298501664898</c:v>
                </c:pt>
                <c:pt idx="786">
                  <c:v>5.074338209039392</c:v>
                </c:pt>
                <c:pt idx="787">
                  <c:v>15.346456847086317</c:v>
                </c:pt>
                <c:pt idx="788">
                  <c:v>18.958860626644512</c:v>
                </c:pt>
                <c:pt idx="789">
                  <c:v>14.403085717084029</c:v>
                </c:pt>
                <c:pt idx="790">
                  <c:v>5.9362109610651341</c:v>
                </c:pt>
                <c:pt idx="791">
                  <c:v>8.4789463907052252</c:v>
                </c:pt>
                <c:pt idx="792">
                  <c:v>16.465538399951015</c:v>
                </c:pt>
                <c:pt idx="793">
                  <c:v>9.0587892125867473</c:v>
                </c:pt>
                <c:pt idx="794">
                  <c:v>17.139541577755296</c:v>
                </c:pt>
                <c:pt idx="795">
                  <c:v>11.94834899420505</c:v>
                </c:pt>
                <c:pt idx="796">
                  <c:v>17.893326494106319</c:v>
                </c:pt>
                <c:pt idx="797">
                  <c:v>6.0246963600102497</c:v>
                </c:pt>
                <c:pt idx="798">
                  <c:v>11.305478988414004</c:v>
                </c:pt>
                <c:pt idx="799">
                  <c:v>8.3028275995151137</c:v>
                </c:pt>
              </c:numCache>
            </c:numRef>
          </c:yVal>
          <c:smooth val="0"/>
          <c:extLst>
            <c:ext xmlns:c16="http://schemas.microsoft.com/office/drawing/2014/chart" uri="{C3380CC4-5D6E-409C-BE32-E72D297353CC}">
              <c16:uniqueId val="{00000001-1C6D-8048-85E3-E5E134A75C5F}"/>
            </c:ext>
          </c:extLst>
        </c:ser>
        <c:dLbls>
          <c:showLegendKey val="0"/>
          <c:showVal val="0"/>
          <c:showCatName val="0"/>
          <c:showSerName val="0"/>
          <c:showPercent val="0"/>
          <c:showBubbleSize val="0"/>
        </c:dLbls>
        <c:axId val="1357012527"/>
        <c:axId val="1"/>
      </c:scatterChart>
      <c:valAx>
        <c:axId val="1357012527"/>
        <c:scaling>
          <c:orientation val="minMax"/>
        </c:scaling>
        <c:delete val="0"/>
        <c:axPos val="b"/>
        <c:majorGridlines>
          <c:spPr>
            <a:ln w="9525" cap="flat" cmpd="sng" algn="ctr">
              <a:solidFill>
                <a:schemeClr val="tx1">
                  <a:lumMod val="15000"/>
                  <a:lumOff val="85000"/>
                </a:schemeClr>
              </a:solidFill>
              <a:round/>
            </a:ln>
            <a:effectLst/>
          </c:spPr>
        </c:majorGridlines>
        <c:title>
          <c:tx>
            <c:rich>
              <a:bodyPr/>
              <a:lstStyle/>
              <a:p>
                <a:pPr>
                  <a:defRPr/>
                </a:pPr>
                <a:r>
                  <a:rPr lang="en-US"/>
                  <a:t>Schematron Errors/Size</a:t>
                </a:r>
                <a:r>
                  <a:rPr lang="en-US" baseline="0"/>
                  <a:t> (MB)</a:t>
                </a:r>
                <a:endParaRPr lang="en-US"/>
              </a:p>
            </c:rich>
          </c:tx>
          <c:overlay val="0"/>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0" vert="horz"/>
          <a:lstStyle/>
          <a:p>
            <a:pPr>
              <a:defRPr sz="900" b="0" i="0" u="none" strike="noStrike" baseline="0">
                <a:solidFill>
                  <a:srgbClr val="333333"/>
                </a:solidFill>
                <a:latin typeface="Calibri"/>
                <a:ea typeface="Calibri"/>
                <a:cs typeface="Calibri"/>
              </a:defRPr>
            </a:pPr>
            <a:endParaRPr lang="en-US"/>
          </a:p>
        </c:txPr>
        <c:crossAx val="1"/>
        <c:crosses val="autoZero"/>
        <c:crossBetween val="midCat"/>
      </c:valAx>
      <c:valAx>
        <c:axId val="1"/>
        <c:scaling>
          <c:orientation val="minMax"/>
        </c:scaling>
        <c:delete val="0"/>
        <c:axPos val="l"/>
        <c:majorGridlines>
          <c:spPr>
            <a:ln w="9525" cap="flat" cmpd="sng" algn="ctr">
              <a:solidFill>
                <a:schemeClr val="tx1">
                  <a:lumMod val="15000"/>
                  <a:lumOff val="85000"/>
                </a:schemeClr>
              </a:solidFill>
              <a:round/>
            </a:ln>
            <a:effectLst/>
          </c:spPr>
        </c:majorGridlines>
        <c:title>
          <c:tx>
            <c:rich>
              <a:bodyPr/>
              <a:lstStyle/>
              <a:p>
                <a:pPr>
                  <a:defRPr/>
                </a:pPr>
                <a:r>
                  <a:rPr lang="en-US"/>
                  <a:t>Completeness Violations/Size (MB)</a:t>
                </a:r>
              </a:p>
            </c:rich>
          </c:tx>
          <c:layout>
            <c:manualLayout>
              <c:xMode val="edge"/>
              <c:yMode val="edge"/>
              <c:x val="2.3425926950682137E-2"/>
              <c:y val="0.18764901274305115"/>
            </c:manualLayout>
          </c:layout>
          <c:overlay val="0"/>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57012527"/>
        <c:crosses val="autoZero"/>
        <c:crossBetween val="midCat"/>
      </c:valAx>
      <c:spPr>
        <a:noFill/>
        <a:ln w="25400">
          <a:noFill/>
        </a:ln>
      </c:spPr>
    </c:plotArea>
    <c:plotVisOnly val="1"/>
    <c:dispBlanksAs val="gap"/>
    <c:showDLblsOverMax val="0"/>
  </c:chart>
  <c:spPr>
    <a:solidFill>
      <a:schemeClr val="bg1"/>
    </a:solidFill>
    <a:ln w="9525" cap="flat" cmpd="sng" algn="ctr">
      <a:solidFill>
        <a:schemeClr val="tx1">
          <a:lumMod val="15000"/>
          <a:lumOff val="85000"/>
        </a:schemeClr>
      </a:solidFill>
      <a:round/>
    </a:ln>
    <a:effectLst/>
  </c:spPr>
  <c:txPr>
    <a:bodyPr/>
    <a:lstStyle/>
    <a:p>
      <a:pPr>
        <a:defRPr/>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91317970070495"/>
          <c:y val="0.19356604488610044"/>
          <c:w val="0.52781696005276824"/>
          <c:h val="0.67388395300854775"/>
        </c:manualLayout>
      </c:layout>
      <c:doughnutChart>
        <c:varyColors val="1"/>
        <c:ser>
          <c:idx val="0"/>
          <c:order val="0"/>
          <c:tx>
            <c:strRef>
              <c:f>Sheet1!$B$1</c:f>
              <c:strCache>
                <c:ptCount val="1"/>
                <c:pt idx="0">
                  <c:v>Race</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011C-4436-8811-3F850F8837CC}"/>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011C-4436-8811-3F850F8837CC}"/>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011C-4436-8811-3F850F8837CC}"/>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011C-4436-8811-3F850F8837CC}"/>
              </c:ext>
            </c:extLst>
          </c:dPt>
          <c:dLbls>
            <c:dLbl>
              <c:idx val="0"/>
              <c:tx>
                <c:rich>
                  <a:bodyPr/>
                  <a:lstStyle/>
                  <a:p>
                    <a:r>
                      <a:rPr lang="en-US"/>
                      <a:t>41.4%</a:t>
                    </a:r>
                  </a:p>
                </c:rich>
              </c:tx>
              <c:showLegendKey val="0"/>
              <c:showVal val="0"/>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1-011C-4436-8811-3F850F8837CC}"/>
                </c:ext>
              </c:extLst>
            </c:dLbl>
            <c:dLbl>
              <c:idx val="1"/>
              <c:layout>
                <c:manualLayout>
                  <c:x val="3.6786938522447845E-3"/>
                  <c:y val="2.2269721108208438E-2"/>
                </c:manualLayout>
              </c:layout>
              <c:tx>
                <c:rich>
                  <a:bodyPr/>
                  <a:lstStyle/>
                  <a:p>
                    <a:r>
                      <a:rPr lang="en-US" dirty="0">
                        <a:solidFill>
                          <a:schemeClr val="tx1"/>
                        </a:solidFill>
                      </a:rPr>
                      <a:t>5.3%</a:t>
                    </a:r>
                  </a:p>
                  <a:p>
                    <a:endParaRPr lang="en-US" dirty="0"/>
                  </a:p>
                </c:rich>
              </c:tx>
              <c:showLegendKey val="0"/>
              <c:showVal val="0"/>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3-011C-4436-8811-3F850F8837CC}"/>
                </c:ext>
              </c:extLst>
            </c:dLbl>
            <c:dLbl>
              <c:idx val="2"/>
              <c:tx>
                <c:rich>
                  <a:bodyPr/>
                  <a:lstStyle/>
                  <a:p>
                    <a:fld id="{87AF49EE-DA5B-4A09-8415-1992ECA1B305}" type="PERCENTAGE">
                      <a:rPr lang="en-US">
                        <a:solidFill>
                          <a:schemeClr val="bg1"/>
                        </a:solidFill>
                      </a:rPr>
                      <a:pPr/>
                      <a:t>[PERCENTAGE]</a:t>
                    </a:fld>
                    <a:endParaRPr lang="en-US"/>
                  </a:p>
                </c:rich>
              </c:tx>
              <c:showLegendKey val="0"/>
              <c:showVal val="0"/>
              <c:showCatName val="0"/>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011C-4436-8811-3F850F8837CC}"/>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0"/>
            <c:showCatName val="0"/>
            <c:showSerName val="0"/>
            <c:showPercent val="1"/>
            <c:showBubbleSize val="0"/>
            <c:showLeaderLines val="0"/>
            <c:extLst>
              <c:ext xmlns:c15="http://schemas.microsoft.com/office/drawing/2012/chart" uri="{CE6537A1-D6FC-4f65-9D91-7224C49458BB}"/>
            </c:extLst>
          </c:dLbls>
          <c:cat>
            <c:strRef>
              <c:f>Sheet1!$A$2:$A$5</c:f>
              <c:strCache>
                <c:ptCount val="4"/>
                <c:pt idx="0">
                  <c:v>White</c:v>
                </c:pt>
                <c:pt idx="1">
                  <c:v>Black</c:v>
                </c:pt>
                <c:pt idx="2">
                  <c:v>Asian</c:v>
                </c:pt>
                <c:pt idx="3">
                  <c:v>Other or Unknown</c:v>
                </c:pt>
              </c:strCache>
            </c:strRef>
          </c:cat>
          <c:val>
            <c:numRef>
              <c:f>Sheet1!$B$2:$B$5</c:f>
              <c:numCache>
                <c:formatCode>0.00%</c:formatCode>
                <c:ptCount val="4"/>
                <c:pt idx="0">
                  <c:v>0.41399999999999998</c:v>
                </c:pt>
                <c:pt idx="1">
                  <c:v>5.2999999999999999E-2</c:v>
                </c:pt>
                <c:pt idx="2">
                  <c:v>8.7999999999999995E-2</c:v>
                </c:pt>
                <c:pt idx="3">
                  <c:v>0.44400000000000001</c:v>
                </c:pt>
              </c:numCache>
            </c:numRef>
          </c:val>
          <c:extLst>
            <c:ext xmlns:c16="http://schemas.microsoft.com/office/drawing/2014/chart" uri="{C3380CC4-5D6E-409C-BE32-E72D297353CC}">
              <c16:uniqueId val="{00000008-011C-4436-8811-3F850F8837CC}"/>
            </c:ext>
          </c:extLst>
        </c:ser>
        <c:dLbls>
          <c:showLegendKey val="0"/>
          <c:showVal val="0"/>
          <c:showCatName val="0"/>
          <c:showSerName val="0"/>
          <c:showPercent val="0"/>
          <c:showBubbleSize val="0"/>
          <c:showLeaderLines val="0"/>
        </c:dLbls>
        <c:firstSliceAng val="0"/>
        <c:holeSize val="67"/>
      </c:doughnutChart>
      <c:spPr>
        <a:noFill/>
        <a:ln>
          <a:noFill/>
        </a:ln>
        <a:effectLst/>
      </c:spPr>
    </c:plotArea>
    <c:legend>
      <c:legendPos val="r"/>
      <c:layout>
        <c:manualLayout>
          <c:xMode val="edge"/>
          <c:yMode val="edge"/>
          <c:x val="0.60952104637124749"/>
          <c:y val="0.62127844453339864"/>
          <c:w val="0.23513605250214373"/>
          <c:h val="0.22471577320725561"/>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bg2"/>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91317970070495"/>
          <c:y val="0.19356604488610044"/>
          <c:w val="0.52781696005276824"/>
          <c:h val="0.67388395300854775"/>
        </c:manualLayout>
      </c:layout>
      <c:doughnutChart>
        <c:varyColors val="1"/>
        <c:ser>
          <c:idx val="0"/>
          <c:order val="0"/>
          <c:tx>
            <c:strRef>
              <c:f>Sheet1!$B$1</c:f>
              <c:strCache>
                <c:ptCount val="1"/>
                <c:pt idx="0">
                  <c:v>Race</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CCA4-4576-9A75-3E4A48204AD5}"/>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CCA4-4576-9A75-3E4A48204AD5}"/>
              </c:ext>
            </c:extLst>
          </c:dPt>
          <c:dPt>
            <c:idx val="2"/>
            <c:bubble3D val="0"/>
            <c:spPr>
              <a:solidFill>
                <a:schemeClr val="tx1"/>
              </a:solidFill>
              <a:ln w="19050">
                <a:solidFill>
                  <a:schemeClr val="lt1"/>
                </a:solidFill>
              </a:ln>
              <a:effectLst/>
            </c:spPr>
            <c:extLst>
              <c:ext xmlns:c16="http://schemas.microsoft.com/office/drawing/2014/chart" uri="{C3380CC4-5D6E-409C-BE32-E72D297353CC}">
                <c16:uniqueId val="{00000005-CCA4-4576-9A75-3E4A48204AD5}"/>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CCA4-4576-9A75-3E4A48204AD5}"/>
              </c:ext>
            </c:extLst>
          </c:dPt>
          <c:dLbls>
            <c:dLbl>
              <c:idx val="0"/>
              <c:tx>
                <c:rich>
                  <a:bodyPr/>
                  <a:lstStyle/>
                  <a:p>
                    <a:r>
                      <a:rPr lang="en-US" dirty="0"/>
                      <a:t>60.2%</a:t>
                    </a:r>
                  </a:p>
                </c:rich>
              </c:tx>
              <c:showLegendKey val="0"/>
              <c:showVal val="0"/>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1-CCA4-4576-9A75-3E4A48204AD5}"/>
                </c:ext>
              </c:extLst>
            </c:dLbl>
            <c:dLbl>
              <c:idx val="1"/>
              <c:layout>
                <c:manualLayout>
                  <c:x val="3.6786938522447845E-3"/>
                  <c:y val="2.2269721108208438E-2"/>
                </c:manualLayout>
              </c:layout>
              <c:tx>
                <c:rich>
                  <a:bodyPr/>
                  <a:lstStyle/>
                  <a:p>
                    <a:r>
                      <a:rPr lang="en-US" dirty="0">
                        <a:solidFill>
                          <a:schemeClr val="tx1"/>
                        </a:solidFill>
                      </a:rPr>
                      <a:t>9%</a:t>
                    </a:r>
                  </a:p>
                  <a:p>
                    <a:endParaRPr lang="en-US" dirty="0"/>
                  </a:p>
                </c:rich>
              </c:tx>
              <c:showLegendKey val="0"/>
              <c:showVal val="0"/>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3-CCA4-4576-9A75-3E4A48204AD5}"/>
                </c:ext>
              </c:extLst>
            </c:dLbl>
            <c:dLbl>
              <c:idx val="2"/>
              <c:tx>
                <c:rich>
                  <a:bodyPr/>
                  <a:lstStyle/>
                  <a:p>
                    <a:fld id="{8E7CBDFA-5B4C-4B7A-87B0-BE46D66E4A69}" type="PERCENTAGE">
                      <a:rPr lang="en-US">
                        <a:solidFill>
                          <a:schemeClr val="bg1"/>
                        </a:solidFill>
                      </a:rPr>
                      <a:pPr/>
                      <a:t>[PERCENTAGE]</a:t>
                    </a:fld>
                    <a:endParaRPr lang="en-US"/>
                  </a:p>
                </c:rich>
              </c:tx>
              <c:showLegendKey val="0"/>
              <c:showVal val="0"/>
              <c:showCatName val="0"/>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CCA4-4576-9A75-3E4A48204AD5}"/>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0"/>
            <c:showCatName val="0"/>
            <c:showSerName val="0"/>
            <c:showPercent val="1"/>
            <c:showBubbleSize val="0"/>
            <c:showLeaderLines val="0"/>
            <c:extLst>
              <c:ext xmlns:c15="http://schemas.microsoft.com/office/drawing/2012/chart" uri="{CE6537A1-D6FC-4f65-9D91-7224C49458BB}"/>
            </c:extLst>
          </c:dLbls>
          <c:cat>
            <c:strRef>
              <c:f>Sheet1!$A$2:$A$5</c:f>
              <c:strCache>
                <c:ptCount val="4"/>
                <c:pt idx="0">
                  <c:v>White</c:v>
                </c:pt>
                <c:pt idx="1">
                  <c:v>Black</c:v>
                </c:pt>
                <c:pt idx="2">
                  <c:v>Asian</c:v>
                </c:pt>
                <c:pt idx="3">
                  <c:v>Other or Unknown</c:v>
                </c:pt>
              </c:strCache>
            </c:strRef>
          </c:cat>
          <c:val>
            <c:numRef>
              <c:f>Sheet1!$B$2:$B$5</c:f>
              <c:numCache>
                <c:formatCode>0.00%</c:formatCode>
                <c:ptCount val="4"/>
                <c:pt idx="0">
                  <c:v>0.60199999999999998</c:v>
                </c:pt>
                <c:pt idx="1">
                  <c:v>0.09</c:v>
                </c:pt>
                <c:pt idx="2">
                  <c:v>0.24</c:v>
                </c:pt>
                <c:pt idx="3">
                  <c:v>7.0000000000000007E-2</c:v>
                </c:pt>
              </c:numCache>
            </c:numRef>
          </c:val>
          <c:extLst>
            <c:ext xmlns:c16="http://schemas.microsoft.com/office/drawing/2014/chart" uri="{C3380CC4-5D6E-409C-BE32-E72D297353CC}">
              <c16:uniqueId val="{00000008-CCA4-4576-9A75-3E4A48204AD5}"/>
            </c:ext>
          </c:extLst>
        </c:ser>
        <c:dLbls>
          <c:showLegendKey val="0"/>
          <c:showVal val="0"/>
          <c:showCatName val="0"/>
          <c:showSerName val="0"/>
          <c:showPercent val="0"/>
          <c:showBubbleSize val="0"/>
          <c:showLeaderLines val="0"/>
        </c:dLbls>
        <c:firstSliceAng val="0"/>
        <c:holeSize val="67"/>
      </c:doughnutChart>
      <c:spPr>
        <a:noFill/>
        <a:ln>
          <a:noFill/>
        </a:ln>
        <a:effectLst/>
      </c:spPr>
    </c:plotArea>
    <c:legend>
      <c:legendPos val="r"/>
      <c:layout>
        <c:manualLayout>
          <c:xMode val="edge"/>
          <c:yMode val="edge"/>
          <c:x val="0.60952104637124749"/>
          <c:y val="0.62127844453339864"/>
          <c:w val="0.23513605250214373"/>
          <c:h val="0.22471577320725561"/>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bg2"/>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1" i="0" u="none" strike="noStrike" kern="1200" baseline="0">
                <a:solidFill>
                  <a:schemeClr val="dk1">
                    <a:lumMod val="75000"/>
                    <a:lumOff val="25000"/>
                  </a:schemeClr>
                </a:solidFill>
                <a:latin typeface="+mj-lt"/>
                <a:ea typeface="+mn-ea"/>
                <a:cs typeface="+mn-cs"/>
              </a:defRPr>
            </a:pPr>
            <a:r>
              <a:rPr lang="en-US"/>
              <a:t>Demographic counts </a:t>
            </a:r>
          </a:p>
          <a:p>
            <a:pPr>
              <a:defRPr/>
            </a:pPr>
            <a:r>
              <a:rPr lang="en-US"/>
              <a:t>by Race</a:t>
            </a:r>
          </a:p>
        </c:rich>
      </c:tx>
      <c:layout>
        <c:manualLayout>
          <c:xMode val="edge"/>
          <c:yMode val="edge"/>
          <c:x val="0.51093134432817455"/>
          <c:y val="6.4665127020785224E-2"/>
        </c:manualLayout>
      </c:layout>
      <c:overlay val="0"/>
      <c:spPr>
        <a:noFill/>
        <a:ln>
          <a:noFill/>
        </a:ln>
        <a:effectLst/>
      </c:spPr>
      <c:txPr>
        <a:bodyPr rot="0" spcFirstLastPara="1" vertOverflow="ellipsis" vert="horz" wrap="square" anchor="ctr" anchorCtr="1"/>
        <a:lstStyle/>
        <a:p>
          <a:pPr>
            <a:defRPr sz="1800" b="1" i="0" u="none" strike="noStrike" kern="1200" baseline="0">
              <a:solidFill>
                <a:schemeClr val="dk1">
                  <a:lumMod val="75000"/>
                  <a:lumOff val="25000"/>
                </a:schemeClr>
              </a:solidFill>
              <a:latin typeface="+mj-lt"/>
              <a:ea typeface="+mn-ea"/>
              <a:cs typeface="+mn-cs"/>
            </a:defRPr>
          </a:pPr>
          <a:endParaRPr lang="en-US"/>
        </a:p>
      </c:txPr>
    </c:title>
    <c:autoTitleDeleted val="0"/>
    <c:plotArea>
      <c:layout>
        <c:manualLayout>
          <c:layoutTarget val="inner"/>
          <c:xMode val="edge"/>
          <c:yMode val="edge"/>
          <c:x val="1.1934281804578809E-3"/>
          <c:y val="5.0784552623762677E-2"/>
          <c:w val="0.60183664395202208"/>
          <c:h val="0.93073969679887014"/>
        </c:manualLayout>
      </c:layout>
      <c:pieChart>
        <c:varyColors val="1"/>
        <c:ser>
          <c:idx val="2"/>
          <c:order val="0"/>
          <c:explosion val="28"/>
          <c:dPt>
            <c:idx val="0"/>
            <c:bubble3D val="0"/>
            <c:spPr>
              <a:solidFill>
                <a:schemeClr val="accent1"/>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1-73D0-469B-AE9C-486F28642D51}"/>
              </c:ext>
            </c:extLst>
          </c:dPt>
          <c:dPt>
            <c:idx val="1"/>
            <c:bubble3D val="0"/>
            <c:spPr>
              <a:solidFill>
                <a:schemeClr val="accent2"/>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3-73D0-469B-AE9C-486F28642D51}"/>
              </c:ext>
            </c:extLst>
          </c:dPt>
          <c:dPt>
            <c:idx val="2"/>
            <c:bubble3D val="0"/>
            <c:spPr>
              <a:solidFill>
                <a:schemeClr val="accent3"/>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5-73D0-469B-AE9C-486F28642D51}"/>
              </c:ext>
            </c:extLst>
          </c:dPt>
          <c:dPt>
            <c:idx val="3"/>
            <c:bubble3D val="0"/>
            <c:spPr>
              <a:solidFill>
                <a:schemeClr val="accent4"/>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7-73D0-469B-AE9C-486F28642D51}"/>
              </c:ext>
            </c:extLst>
          </c:dPt>
          <c:dPt>
            <c:idx val="4"/>
            <c:bubble3D val="0"/>
            <c:spPr>
              <a:solidFill>
                <a:schemeClr val="accent5"/>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9-73D0-469B-AE9C-486F28642D51}"/>
              </c:ext>
            </c:extLst>
          </c:dPt>
          <c:dPt>
            <c:idx val="5"/>
            <c:bubble3D val="0"/>
            <c:spPr>
              <a:solidFill>
                <a:schemeClr val="accent6"/>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B-73D0-469B-AE9C-486F28642D51}"/>
              </c:ext>
            </c:extLst>
          </c:dPt>
          <c:dPt>
            <c:idx val="6"/>
            <c:bubble3D val="0"/>
            <c:spPr>
              <a:solidFill>
                <a:schemeClr val="accent1">
                  <a:lumMod val="60000"/>
                </a:schemeClr>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D-73D0-469B-AE9C-486F28642D51}"/>
              </c:ext>
            </c:extLst>
          </c:dPt>
          <c:dPt>
            <c:idx val="7"/>
            <c:bubble3D val="0"/>
            <c:spPr>
              <a:solidFill>
                <a:schemeClr val="accent2">
                  <a:lumMod val="60000"/>
                </a:schemeClr>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F-73D0-469B-AE9C-486F28642D51}"/>
              </c:ext>
            </c:extLst>
          </c:dPt>
          <c:dLbls>
            <c:dLbl>
              <c:idx val="3"/>
              <c:layout>
                <c:manualLayout>
                  <c:x val="4.738468864358459E-2"/>
                  <c:y val="0.20429848595934696"/>
                </c:manualLayout>
              </c:layout>
              <c:dLblPos val="bestFi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7-73D0-469B-AE9C-486F28642D51}"/>
                </c:ext>
              </c:extLst>
            </c:dLbl>
            <c:dLbl>
              <c:idx val="4"/>
              <c:layout>
                <c:manualLayout>
                  <c:x val="1.9512288371265906E-2"/>
                  <c:y val="0.1350891969593645"/>
                </c:manualLayout>
              </c:layout>
              <c:dLblPos val="bestFi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9-73D0-469B-AE9C-486F28642D51}"/>
                </c:ext>
              </c:extLst>
            </c:dLbl>
            <c:dLbl>
              <c:idx val="5"/>
              <c:layout>
                <c:manualLayout>
                  <c:x val="-5.1763188016850223E-3"/>
                  <c:y val="5.5328408963161109E-2"/>
                </c:manualLayout>
              </c:layout>
              <c:dLblPos val="bestFi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B-73D0-469B-AE9C-486F28642D51}"/>
                </c:ext>
              </c:extLst>
            </c:dLbl>
            <c:dLbl>
              <c:idx val="6"/>
              <c:layout>
                <c:manualLayout>
                  <c:x val="6.6839628686260104E-3"/>
                  <c:y val="6.3082576460578771E-2"/>
                </c:manualLayout>
              </c:layout>
              <c:dLblPos val="bestFi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D-73D0-469B-AE9C-486F28642D51}"/>
                </c:ext>
              </c:extLst>
            </c:dLbl>
            <c:dLbl>
              <c:idx val="7"/>
              <c:layout>
                <c:manualLayout>
                  <c:x val="1.4971352638715948E-2"/>
                  <c:y val="2.7467512169546206E-2"/>
                </c:manualLayout>
              </c:layout>
              <c:dLblPos val="bestFi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F-73D0-469B-AE9C-486F28642D51}"/>
                </c:ext>
              </c:extLst>
            </c:dLbl>
            <c:spPr>
              <a:pattFill prst="pct75">
                <a:fgClr>
                  <a:schemeClr val="dk1">
                    <a:lumMod val="75000"/>
                    <a:lumOff val="25000"/>
                  </a:schemeClr>
                </a:fgClr>
                <a:bgClr>
                  <a:schemeClr val="dk1">
                    <a:lumMod val="65000"/>
                    <a:lumOff val="35000"/>
                  </a:schemeClr>
                </a:bgClr>
              </a:pattFill>
              <a:ln>
                <a:noFill/>
              </a:ln>
              <a:effectLst>
                <a:outerShdw blurRad="50800" dist="38100" dir="2700000" algn="tl" rotWithShape="0">
                  <a:prstClr val="black">
                    <a:alpha val="40000"/>
                  </a:prstClr>
                </a:outerShdw>
              </a:effectLst>
            </c:spPr>
            <c:txPr>
              <a:bodyPr rot="0" spcFirstLastPara="1" vertOverflow="ellipsis" vert="horz" wrap="square" anchor="ctr" anchorCtr="1"/>
              <a:lstStyle/>
              <a:p>
                <a:pPr>
                  <a:defRPr sz="1000" b="1" i="0" u="none" strike="noStrike" kern="1200" baseline="0">
                    <a:solidFill>
                      <a:schemeClr val="lt1"/>
                    </a:solidFill>
                    <a:latin typeface="+mj-lt"/>
                    <a:ea typeface="+mn-ea"/>
                    <a:cs typeface="+mn-cs"/>
                  </a:defRPr>
                </a:pPr>
                <a:endParaRPr lang="en-US"/>
              </a:p>
            </c:txPr>
            <c:dLblPos val="ctr"/>
            <c:showLegendKey val="0"/>
            <c:showVal val="0"/>
            <c:showCatName val="0"/>
            <c:showSerName val="0"/>
            <c:showPercent val="1"/>
            <c:showBubbleSize val="0"/>
            <c:showLeaderLines val="1"/>
            <c:leaderLines>
              <c:spPr>
                <a:ln w="9525">
                  <a:solidFill>
                    <a:schemeClr val="dk1">
                      <a:lumMod val="50000"/>
                      <a:lumOff val="50000"/>
                    </a:schemeClr>
                  </a:solidFill>
                </a:ln>
                <a:effectLst/>
              </c:spPr>
            </c:leaderLines>
            <c:extLst>
              <c:ext xmlns:c15="http://schemas.microsoft.com/office/drawing/2012/chart" uri="{CE6537A1-D6FC-4f65-9D91-7224C49458BB}"/>
            </c:extLst>
          </c:dLbls>
          <c:cat>
            <c:strRef>
              <c:f>Sheet1!$A$3:$A$10</c:f>
              <c:strCache>
                <c:ptCount val="8"/>
                <c:pt idx="0">
                  <c:v>Unknown</c:v>
                </c:pt>
                <c:pt idx="1">
                  <c:v>White</c:v>
                </c:pt>
                <c:pt idx="2">
                  <c:v>Black or African American</c:v>
                </c:pt>
                <c:pt idx="3">
                  <c:v>Asian</c:v>
                </c:pt>
                <c:pt idx="4">
                  <c:v>Native Hawaiian or Other Pacific Islander</c:v>
                </c:pt>
                <c:pt idx="5">
                  <c:v>American Indian or Alaska Native</c:v>
                </c:pt>
                <c:pt idx="6">
                  <c:v>Other</c:v>
                </c:pt>
                <c:pt idx="7">
                  <c:v>Hispanic</c:v>
                </c:pt>
              </c:strCache>
            </c:strRef>
          </c:cat>
          <c:val>
            <c:numRef>
              <c:f>Sheet1!$D$3:$D$10</c:f>
              <c:numCache>
                <c:formatCode>0.0%</c:formatCode>
                <c:ptCount val="8"/>
                <c:pt idx="0">
                  <c:v>0.20958202872620646</c:v>
                </c:pt>
                <c:pt idx="1">
                  <c:v>0.69482133094776599</c:v>
                </c:pt>
                <c:pt idx="2">
                  <c:v>5.8023955071815514E-2</c:v>
                </c:pt>
                <c:pt idx="3">
                  <c:v>8.9707271010387151E-3</c:v>
                </c:pt>
                <c:pt idx="4">
                  <c:v>8.9458774414790515E-4</c:v>
                </c:pt>
                <c:pt idx="5">
                  <c:v>5.019631231052135E-3</c:v>
                </c:pt>
                <c:pt idx="6">
                  <c:v>2.0948263008796781E-2</c:v>
                </c:pt>
                <c:pt idx="7">
                  <c:v>1.7394761691764823E-3</c:v>
                </c:pt>
              </c:numCache>
            </c:numRef>
          </c:val>
          <c:extLst>
            <c:ext xmlns:c16="http://schemas.microsoft.com/office/drawing/2014/chart" uri="{C3380CC4-5D6E-409C-BE32-E72D297353CC}">
              <c16:uniqueId val="{00000010-73D0-469B-AE9C-486F28642D51}"/>
            </c:ext>
          </c:extLst>
        </c:ser>
        <c:dLbls>
          <c:dLblPos val="ctr"/>
          <c:showLegendKey val="0"/>
          <c:showVal val="0"/>
          <c:showCatName val="0"/>
          <c:showSerName val="0"/>
          <c:showPercent val="1"/>
          <c:showBubbleSize val="0"/>
          <c:showLeaderLines val="1"/>
        </c:dLbls>
        <c:firstSliceAng val="0"/>
      </c:pieChart>
      <c:spPr>
        <a:noFill/>
        <a:ln>
          <a:noFill/>
        </a:ln>
        <a:effectLst/>
      </c:spPr>
    </c:plotArea>
    <c:legend>
      <c:legendPos val="r"/>
      <c:layout>
        <c:manualLayout>
          <c:xMode val="edge"/>
          <c:yMode val="edge"/>
          <c:x val="0.63733688379623465"/>
          <c:y val="0.55580782611865598"/>
          <c:w val="0.27724680697694443"/>
          <c:h val="0.35920348520267986"/>
        </c:manualLayout>
      </c:layout>
      <c:overlay val="0"/>
      <c:spPr>
        <a:solidFill>
          <a:schemeClr val="lt1">
            <a:lumMod val="95000"/>
            <a:alpha val="39000"/>
          </a:schemeClr>
        </a:solidFill>
        <a:ln>
          <a:noFill/>
        </a:ln>
        <a:effectLst/>
      </c:spPr>
      <c:txPr>
        <a:bodyPr rot="0" spcFirstLastPara="1" vertOverflow="ellipsis" vert="horz" wrap="square" anchor="ctr" anchorCtr="1"/>
        <a:lstStyle/>
        <a:p>
          <a:pPr>
            <a:defRPr sz="900" b="0" i="0" u="none" strike="noStrike" kern="1200" baseline="0">
              <a:solidFill>
                <a:schemeClr val="dk1">
                  <a:lumMod val="75000"/>
                  <a:lumOff val="25000"/>
                </a:schemeClr>
              </a:solidFill>
              <a:latin typeface="+mj-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a:effectLst/>
  </c:spPr>
  <c:txPr>
    <a:bodyPr/>
    <a:lstStyle/>
    <a:p>
      <a:pPr>
        <a:defRPr>
          <a:latin typeface="+mj-lt"/>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1" i="0" u="none" strike="noStrike" kern="1200" baseline="0">
                <a:solidFill>
                  <a:schemeClr val="dk1">
                    <a:lumMod val="75000"/>
                    <a:lumOff val="25000"/>
                  </a:schemeClr>
                </a:solidFill>
                <a:latin typeface="+mn-lt"/>
                <a:ea typeface="+mn-ea"/>
                <a:cs typeface="+mn-cs"/>
              </a:defRPr>
            </a:pPr>
            <a:r>
              <a:rPr lang="en-US"/>
              <a:t>Demographic counts</a:t>
            </a:r>
            <a:r>
              <a:rPr lang="en-US" baseline="0"/>
              <a:t> by Ethnicity</a:t>
            </a:r>
            <a:endParaRPr lang="en-US"/>
          </a:p>
        </c:rich>
      </c:tx>
      <c:overlay val="0"/>
      <c:spPr>
        <a:noFill/>
        <a:ln>
          <a:noFill/>
        </a:ln>
        <a:effectLst/>
      </c:spPr>
      <c:txPr>
        <a:bodyPr rot="0" spcFirstLastPara="1" vertOverflow="ellipsis" vert="horz" wrap="square" anchor="ctr" anchorCtr="1"/>
        <a:lstStyle/>
        <a:p>
          <a:pPr>
            <a:defRPr sz="1800" b="1" i="0" u="none" strike="noStrike" kern="1200" baseline="0">
              <a:solidFill>
                <a:schemeClr val="dk1">
                  <a:lumMod val="75000"/>
                  <a:lumOff val="25000"/>
                </a:schemeClr>
              </a:solidFill>
              <a:latin typeface="+mn-lt"/>
              <a:ea typeface="+mn-ea"/>
              <a:cs typeface="+mn-cs"/>
            </a:defRPr>
          </a:pPr>
          <a:endParaRPr lang="en-US"/>
        </a:p>
      </c:txPr>
    </c:title>
    <c:autoTitleDeleted val="0"/>
    <c:plotArea>
      <c:layout/>
      <c:pieChart>
        <c:varyColors val="1"/>
        <c:ser>
          <c:idx val="0"/>
          <c:order val="0"/>
          <c:dPt>
            <c:idx val="0"/>
            <c:bubble3D val="0"/>
            <c:spPr>
              <a:solidFill>
                <a:schemeClr val="accent1"/>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1-D950-4001-BBED-11C7AD999A43}"/>
              </c:ext>
            </c:extLst>
          </c:dPt>
          <c:dPt>
            <c:idx val="1"/>
            <c:bubble3D val="0"/>
            <c:spPr>
              <a:solidFill>
                <a:schemeClr val="accent2"/>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3-D950-4001-BBED-11C7AD999A43}"/>
              </c:ext>
            </c:extLst>
          </c:dPt>
          <c:dPt>
            <c:idx val="2"/>
            <c:bubble3D val="0"/>
            <c:spPr>
              <a:solidFill>
                <a:schemeClr val="accent3"/>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5-D950-4001-BBED-11C7AD999A43}"/>
              </c:ext>
            </c:extLst>
          </c:dPt>
          <c:dPt>
            <c:idx val="3"/>
            <c:bubble3D val="0"/>
            <c:spPr>
              <a:solidFill>
                <a:schemeClr val="accent4"/>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7-D950-4001-BBED-11C7AD999A43}"/>
              </c:ext>
            </c:extLst>
          </c:dPt>
          <c:dLbls>
            <c:spPr>
              <a:pattFill prst="pct75">
                <a:fgClr>
                  <a:schemeClr val="dk1">
                    <a:lumMod val="75000"/>
                    <a:lumOff val="25000"/>
                  </a:schemeClr>
                </a:fgClr>
                <a:bgClr>
                  <a:schemeClr val="dk1">
                    <a:lumMod val="65000"/>
                    <a:lumOff val="35000"/>
                  </a:schemeClr>
                </a:bgClr>
              </a:patt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lt1"/>
                    </a:solidFill>
                    <a:latin typeface="+mn-lt"/>
                    <a:ea typeface="+mn-ea"/>
                    <a:cs typeface="+mn-cs"/>
                  </a:defRPr>
                </a:pPr>
                <a:endParaRPr lang="en-US"/>
              </a:p>
            </c:txPr>
            <c:dLblPos val="ctr"/>
            <c:showLegendKey val="0"/>
            <c:showVal val="0"/>
            <c:showCatName val="0"/>
            <c:showSerName val="0"/>
            <c:showPercent val="1"/>
            <c:showBubbleSize val="0"/>
            <c:showLeaderLines val="1"/>
            <c:leaderLines>
              <c:spPr>
                <a:ln w="9525">
                  <a:solidFill>
                    <a:schemeClr val="dk1">
                      <a:lumMod val="50000"/>
                      <a:lumOff val="50000"/>
                    </a:schemeClr>
                  </a:solidFill>
                </a:ln>
                <a:effectLst/>
              </c:spPr>
            </c:leaderLines>
            <c:extLst>
              <c:ext xmlns:c15="http://schemas.microsoft.com/office/drawing/2012/chart" uri="{CE6537A1-D6FC-4f65-9D91-7224C49458BB}"/>
            </c:extLst>
          </c:dLbls>
          <c:cat>
            <c:strRef>
              <c:f>Sheet1!$A$13:$A$16</c:f>
              <c:strCache>
                <c:ptCount val="4"/>
                <c:pt idx="0">
                  <c:v>Unknown</c:v>
                </c:pt>
                <c:pt idx="1">
                  <c:v>Not Hispanic or Latino</c:v>
                </c:pt>
                <c:pt idx="2">
                  <c:v>Hispanic or Latino</c:v>
                </c:pt>
                <c:pt idx="3">
                  <c:v>DTS</c:v>
                </c:pt>
              </c:strCache>
            </c:strRef>
          </c:cat>
          <c:val>
            <c:numRef>
              <c:f>Sheet1!$B$13:$B$16</c:f>
              <c:numCache>
                <c:formatCode>General</c:formatCode>
                <c:ptCount val="4"/>
                <c:pt idx="0">
                  <c:v>6365</c:v>
                </c:pt>
                <c:pt idx="1">
                  <c:v>28137</c:v>
                </c:pt>
                <c:pt idx="2">
                  <c:v>2776</c:v>
                </c:pt>
                <c:pt idx="3">
                  <c:v>2964</c:v>
                </c:pt>
              </c:numCache>
            </c:numRef>
          </c:val>
          <c:extLst>
            <c:ext xmlns:c16="http://schemas.microsoft.com/office/drawing/2014/chart" uri="{C3380CC4-5D6E-409C-BE32-E72D297353CC}">
              <c16:uniqueId val="{00000008-D950-4001-BBED-11C7AD999A43}"/>
            </c:ext>
          </c:extLst>
        </c:ser>
        <c:ser>
          <c:idx val="1"/>
          <c:order val="1"/>
          <c:dPt>
            <c:idx val="0"/>
            <c:bubble3D val="0"/>
            <c:spPr>
              <a:solidFill>
                <a:schemeClr val="accent1"/>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A-D950-4001-BBED-11C7AD999A43}"/>
              </c:ext>
            </c:extLst>
          </c:dPt>
          <c:dPt>
            <c:idx val="1"/>
            <c:bubble3D val="0"/>
            <c:spPr>
              <a:solidFill>
                <a:schemeClr val="accent2"/>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C-D950-4001-BBED-11C7AD999A43}"/>
              </c:ext>
            </c:extLst>
          </c:dPt>
          <c:dPt>
            <c:idx val="2"/>
            <c:bubble3D val="0"/>
            <c:spPr>
              <a:solidFill>
                <a:schemeClr val="accent3"/>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E-D950-4001-BBED-11C7AD999A43}"/>
              </c:ext>
            </c:extLst>
          </c:dPt>
          <c:dPt>
            <c:idx val="3"/>
            <c:bubble3D val="0"/>
            <c:spPr>
              <a:solidFill>
                <a:schemeClr val="accent4"/>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10-D950-4001-BBED-11C7AD999A43}"/>
              </c:ext>
            </c:extLst>
          </c:dPt>
          <c:dLbls>
            <c:spPr>
              <a:pattFill prst="pct75">
                <a:fgClr>
                  <a:schemeClr val="dk1">
                    <a:lumMod val="75000"/>
                    <a:lumOff val="25000"/>
                  </a:schemeClr>
                </a:fgClr>
                <a:bgClr>
                  <a:schemeClr val="dk1">
                    <a:lumMod val="65000"/>
                    <a:lumOff val="35000"/>
                  </a:schemeClr>
                </a:bgClr>
              </a:patt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lt1"/>
                    </a:solidFill>
                    <a:latin typeface="+mn-lt"/>
                    <a:ea typeface="+mn-ea"/>
                    <a:cs typeface="+mn-cs"/>
                  </a:defRPr>
                </a:pPr>
                <a:endParaRPr lang="en-US"/>
              </a:p>
            </c:txPr>
            <c:dLblPos val="ctr"/>
            <c:showLegendKey val="0"/>
            <c:showVal val="0"/>
            <c:showCatName val="0"/>
            <c:showSerName val="0"/>
            <c:showPercent val="1"/>
            <c:showBubbleSize val="0"/>
            <c:showLeaderLines val="1"/>
            <c:leaderLines>
              <c:spPr>
                <a:ln w="9525">
                  <a:solidFill>
                    <a:schemeClr val="dk1">
                      <a:lumMod val="50000"/>
                      <a:lumOff val="50000"/>
                    </a:schemeClr>
                  </a:solidFill>
                </a:ln>
                <a:effectLst/>
              </c:spPr>
            </c:leaderLines>
            <c:extLst>
              <c:ext xmlns:c15="http://schemas.microsoft.com/office/drawing/2012/chart" uri="{CE6537A1-D6FC-4f65-9D91-7224C49458BB}"/>
            </c:extLst>
          </c:dLbls>
          <c:cat>
            <c:strRef>
              <c:f>Sheet1!$A$13:$A$16</c:f>
              <c:strCache>
                <c:ptCount val="4"/>
                <c:pt idx="0">
                  <c:v>Unknown</c:v>
                </c:pt>
                <c:pt idx="1">
                  <c:v>Not Hispanic or Latino</c:v>
                </c:pt>
                <c:pt idx="2">
                  <c:v>Hispanic or Latino</c:v>
                </c:pt>
                <c:pt idx="3">
                  <c:v>DTS</c:v>
                </c:pt>
              </c:strCache>
            </c:strRef>
          </c:cat>
          <c:val>
            <c:numRef>
              <c:f>Sheet1!$C$13:$C$16</c:f>
              <c:numCache>
                <c:formatCode>General</c:formatCode>
                <c:ptCount val="4"/>
              </c:numCache>
            </c:numRef>
          </c:val>
          <c:extLst>
            <c:ext xmlns:c16="http://schemas.microsoft.com/office/drawing/2014/chart" uri="{C3380CC4-5D6E-409C-BE32-E72D297353CC}">
              <c16:uniqueId val="{00000011-D950-4001-BBED-11C7AD999A43}"/>
            </c:ext>
          </c:extLst>
        </c:ser>
        <c:ser>
          <c:idx val="2"/>
          <c:order val="2"/>
          <c:dPt>
            <c:idx val="0"/>
            <c:bubble3D val="0"/>
            <c:spPr>
              <a:solidFill>
                <a:schemeClr val="accent1"/>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13-D950-4001-BBED-11C7AD999A43}"/>
              </c:ext>
            </c:extLst>
          </c:dPt>
          <c:dPt>
            <c:idx val="1"/>
            <c:bubble3D val="0"/>
            <c:spPr>
              <a:solidFill>
                <a:schemeClr val="accent2"/>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15-D950-4001-BBED-11C7AD999A43}"/>
              </c:ext>
            </c:extLst>
          </c:dPt>
          <c:dPt>
            <c:idx val="2"/>
            <c:bubble3D val="0"/>
            <c:spPr>
              <a:solidFill>
                <a:schemeClr val="accent3"/>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17-D950-4001-BBED-11C7AD999A43}"/>
              </c:ext>
            </c:extLst>
          </c:dPt>
          <c:dPt>
            <c:idx val="3"/>
            <c:bubble3D val="0"/>
            <c:spPr>
              <a:solidFill>
                <a:schemeClr val="accent4"/>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19-D950-4001-BBED-11C7AD999A43}"/>
              </c:ext>
            </c:extLst>
          </c:dPt>
          <c:dLbls>
            <c:spPr>
              <a:pattFill prst="pct75">
                <a:fgClr>
                  <a:schemeClr val="dk1">
                    <a:lumMod val="75000"/>
                    <a:lumOff val="25000"/>
                  </a:schemeClr>
                </a:fgClr>
                <a:bgClr>
                  <a:schemeClr val="dk1">
                    <a:lumMod val="65000"/>
                    <a:lumOff val="35000"/>
                  </a:schemeClr>
                </a:bgClr>
              </a:patt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lt1"/>
                    </a:solidFill>
                    <a:latin typeface="+mn-lt"/>
                    <a:ea typeface="+mn-ea"/>
                    <a:cs typeface="+mn-cs"/>
                  </a:defRPr>
                </a:pPr>
                <a:endParaRPr lang="en-US"/>
              </a:p>
            </c:txPr>
            <c:dLblPos val="ctr"/>
            <c:showLegendKey val="0"/>
            <c:showVal val="0"/>
            <c:showCatName val="0"/>
            <c:showSerName val="0"/>
            <c:showPercent val="1"/>
            <c:showBubbleSize val="0"/>
            <c:showLeaderLines val="1"/>
            <c:leaderLines>
              <c:spPr>
                <a:ln w="9525">
                  <a:solidFill>
                    <a:schemeClr val="dk1">
                      <a:lumMod val="50000"/>
                      <a:lumOff val="50000"/>
                    </a:schemeClr>
                  </a:solidFill>
                </a:ln>
                <a:effectLst/>
              </c:spPr>
            </c:leaderLines>
            <c:extLst>
              <c:ext xmlns:c15="http://schemas.microsoft.com/office/drawing/2012/chart" uri="{CE6537A1-D6FC-4f65-9D91-7224C49458BB}"/>
            </c:extLst>
          </c:dLbls>
          <c:cat>
            <c:strRef>
              <c:f>Sheet1!$A$13:$A$16</c:f>
              <c:strCache>
                <c:ptCount val="4"/>
                <c:pt idx="0">
                  <c:v>Unknown</c:v>
                </c:pt>
                <c:pt idx="1">
                  <c:v>Not Hispanic or Latino</c:v>
                </c:pt>
                <c:pt idx="2">
                  <c:v>Hispanic or Latino</c:v>
                </c:pt>
                <c:pt idx="3">
                  <c:v>DTS</c:v>
                </c:pt>
              </c:strCache>
            </c:strRef>
          </c:cat>
          <c:val>
            <c:numRef>
              <c:f>Sheet1!$D$13:$D$16</c:f>
              <c:numCache>
                <c:formatCode>0.0%</c:formatCode>
                <c:ptCount val="4"/>
                <c:pt idx="0">
                  <c:v>0.15816808309726157</c:v>
                </c:pt>
                <c:pt idx="1">
                  <c:v>0.6991948710302669</c:v>
                </c:pt>
                <c:pt idx="2">
                  <c:v>6.8982654937627355E-2</c:v>
                </c:pt>
                <c:pt idx="3">
                  <c:v>7.3654390934844188E-2</c:v>
                </c:pt>
              </c:numCache>
            </c:numRef>
          </c:val>
          <c:extLst>
            <c:ext xmlns:c16="http://schemas.microsoft.com/office/drawing/2014/chart" uri="{C3380CC4-5D6E-409C-BE32-E72D297353CC}">
              <c16:uniqueId val="{0000001A-D950-4001-BBED-11C7AD999A43}"/>
            </c:ext>
          </c:extLst>
        </c:ser>
        <c:dLbls>
          <c:dLblPos val="ctr"/>
          <c:showLegendKey val="0"/>
          <c:showVal val="0"/>
          <c:showCatName val="0"/>
          <c:showSerName val="0"/>
          <c:showPercent val="1"/>
          <c:showBubbleSize val="0"/>
          <c:showLeaderLines val="1"/>
        </c:dLbls>
        <c:firstSliceAng val="0"/>
      </c:pieChart>
      <c:spPr>
        <a:noFill/>
        <a:ln>
          <a:noFill/>
        </a:ln>
        <a:effectLst/>
      </c:spPr>
    </c:plotArea>
    <c:legend>
      <c:legendPos val="r"/>
      <c:overlay val="0"/>
      <c:spPr>
        <a:solidFill>
          <a:schemeClr val="lt1">
            <a:lumMod val="95000"/>
            <a:alpha val="39000"/>
          </a:schemeClr>
        </a:solidFill>
        <a:ln>
          <a:noFill/>
        </a:ln>
        <a:effectLst/>
      </c:spPr>
      <c:txPr>
        <a:bodyPr rot="0" spcFirstLastPara="1" vertOverflow="ellipsis" vert="horz" wrap="square" anchor="ctr" anchorCtr="1"/>
        <a:lstStyle/>
        <a:p>
          <a:pPr>
            <a:defRPr sz="900" b="0" i="0" u="none" strike="noStrike" kern="1200" baseline="0">
              <a:solidFill>
                <a:schemeClr val="dk1">
                  <a:lumMod val="75000"/>
                  <a:lumOff val="2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33">
  <cs:axisTitle>
    <cs:lnRef idx="0"/>
    <cs:fillRef idx="0"/>
    <cs:effectRef idx="0"/>
    <cs:fontRef idx="minor">
      <a:schemeClr val="lt1">
        <a:lumMod val="85000"/>
      </a:schemeClr>
    </cs:fontRef>
    <cs:defRPr sz="1197" b="1" kern="1200" cap="all"/>
  </cs:axisTitle>
  <cs:categoryAxis>
    <cs:lnRef idx="0"/>
    <cs:fillRef idx="0"/>
    <cs:effectRef idx="0"/>
    <cs:fontRef idx="minor">
      <a:schemeClr val="lt1">
        <a:lumMod val="85000"/>
      </a:schemeClr>
    </cs:fontRef>
    <cs:spPr>
      <a:ln w="9525" cap="flat" cmpd="sng" algn="ctr">
        <a:solidFill>
          <a:schemeClr val="lt1">
            <a:lumMod val="95000"/>
            <a:alpha val="10000"/>
          </a:schemeClr>
        </a:solidFill>
        <a:round/>
      </a:ln>
    </cs:spPr>
    <cs:defRPr sz="1197"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330" kern="1200"/>
  </cs:chartArea>
  <cs:dataLabel>
    <cs:lnRef idx="0"/>
    <cs:fillRef idx="0"/>
    <cs:effectRef idx="0"/>
    <cs:fontRef idx="minor">
      <a:schemeClr val="lt1">
        <a:lumMod val="85000"/>
      </a:schemeClr>
    </cs:fontRef>
    <cs:defRPr sz="1197" kern="1200"/>
  </cs:dataLabel>
  <cs:dataLabelCallout>
    <cs:lnRef idx="0"/>
    <cs:fillRef idx="0"/>
    <cs:effectRef idx="0"/>
    <cs:fontRef idx="minor">
      <a:schemeClr val="dk1">
        <a:lumMod val="65000"/>
        <a:lumOff val="35000"/>
      </a:schemeClr>
    </cs:fontRef>
    <cs:spPr>
      <a:solidFill>
        <a:schemeClr val="lt1"/>
      </a:solidFill>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1197" kern="1200"/>
  </cs:dataTable>
  <cs:downBar>
    <cs:lnRef idx="0"/>
    <cs:fillRef idx="0"/>
    <cs:effectRef idx="0"/>
    <cs:fontRef idx="minor">
      <a:schemeClr val="tx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tx1"/>
    </cs:fontRef>
    <cs:spPr>
      <a:ln w="9525">
        <a:solidFill>
          <a:schemeClr val="lt1">
            <a:lumMod val="95000"/>
            <a:alpha val="54000"/>
          </a:schemeClr>
        </a:solidFill>
        <a:prstDash val="dash"/>
      </a:ln>
    </cs:spPr>
  </cs:dropLine>
  <cs:errorBar>
    <cs:lnRef idx="0"/>
    <cs:fillRef idx="0"/>
    <cs:effectRef idx="0"/>
    <cs:fontRef idx="minor">
      <a:schemeClr val="tx1"/>
    </cs:fontRef>
    <cs:spPr>
      <a:ln w="9525" cap="flat" cmpd="sng" algn="ctr">
        <a:solidFill>
          <a:schemeClr val="lt1">
            <a:lumMod val="9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lt1">
            <a:lumMod val="95000"/>
            <a:alpha val="10000"/>
          </a:schemeClr>
        </a:solidFill>
        <a:round/>
      </a:ln>
    </cs:spPr>
  </cs:gridlineMajor>
  <cs:gridlineMinor>
    <cs:lnRef idx="0"/>
    <cs:fillRef idx="0"/>
    <cs:effectRef idx="0"/>
    <cs:fontRef idx="minor">
      <a:schemeClr val="tx1"/>
    </cs:fontRef>
    <cs:spPr>
      <a:ln>
        <a:solidFill>
          <a:schemeClr val="lt1">
            <a:lumMod val="95000"/>
            <a:alpha val="5000"/>
          </a:schemeClr>
        </a:solidFill>
      </a:ln>
    </cs:spPr>
  </cs:gridlineMinor>
  <cs:hiLoLine>
    <cs:lnRef idx="0"/>
    <cs:fillRef idx="0"/>
    <cs:effectRef idx="0"/>
    <cs:fontRef idx="minor">
      <a:schemeClr val="tx1"/>
    </cs:fontRef>
    <cs:spPr>
      <a:ln w="9525">
        <a:solidFill>
          <a:schemeClr val="lt1">
            <a:lumMod val="95000"/>
            <a:alpha val="54000"/>
          </a:schemeClr>
        </a:solidFill>
        <a:prstDash val="dash"/>
      </a:ln>
    </cs:spPr>
  </cs:hiLoLine>
  <cs:leaderLine>
    <cs:lnRef idx="0"/>
    <cs:fillRef idx="0"/>
    <cs:effectRef idx="0"/>
    <cs:fontRef idx="minor">
      <a:schemeClr val="tx1"/>
    </cs:fontRef>
    <cs:spPr>
      <a:ln w="9525">
        <a:solidFill>
          <a:schemeClr val="lt1">
            <a:lumMod val="95000"/>
            <a:alpha val="54000"/>
          </a:schemeClr>
        </a:solidFill>
      </a:ln>
    </cs:spPr>
  </cs:leaderLine>
  <cs:legend>
    <cs:lnRef idx="0"/>
    <cs:fillRef idx="0"/>
    <cs:effectRef idx="0"/>
    <cs:fontRef idx="minor">
      <a:schemeClr val="lt1">
        <a:lumMod val="85000"/>
      </a:schemeClr>
    </cs:fontRef>
    <cs:defRPr sz="1197"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2128"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tx1"/>
    </cs:fontRef>
    <cs:spPr>
      <a:ln w="19050" cap="rnd">
        <a:solidFill>
          <a:schemeClr val="phClr"/>
        </a:solidFill>
      </a:ln>
    </cs:spPr>
  </cs:trendline>
  <cs:trendlineLabel>
    <cs:lnRef idx="0"/>
    <cs:fillRef idx="0"/>
    <cs:effectRef idx="0"/>
    <cs:fontRef idx="minor">
      <a:schemeClr val="lt1">
        <a:lumMod val="85000"/>
      </a:schemeClr>
    </cs:fontRef>
    <cs:defRPr sz="1197" kern="1200"/>
  </cs:trendlineLabel>
  <cs:upBar>
    <cs:lnRef idx="0"/>
    <cs:fillRef idx="0"/>
    <cs:effectRef idx="0"/>
    <cs:fontRef idx="minor">
      <a:schemeClr val="tx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1197" kern="1200"/>
  </cs:valueAxis>
  <cs:wall>
    <cs:lnRef idx="0"/>
    <cs:fillRef idx="0"/>
    <cs:effectRef idx="0"/>
    <cs:fontRef idx="minor">
      <a:schemeClr val="tx1"/>
    </cs:fontRef>
  </cs:wall>
</cs:chartStyle>
</file>

<file path=ppt/charts/style10.xml><?xml version="1.0" encoding="utf-8"?>
<cs:chartStyle xmlns:cs="http://schemas.microsoft.com/office/drawing/2012/chartStyle" xmlns:a="http://schemas.openxmlformats.org/drawingml/2006/main" id="209">
  <cs:axisTitle>
    <cs:lnRef idx="0"/>
    <cs:fillRef idx="0"/>
    <cs:effectRef idx="0"/>
    <cs:fontRef idx="minor">
      <a:schemeClr val="lt1">
        <a:lumMod val="85000"/>
      </a:schemeClr>
    </cs:fontRef>
    <cs:defRPr sz="1197"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330" kern="1200"/>
  </cs:chartArea>
  <cs:dataLabel>
    <cs:lnRef idx="0"/>
    <cs:fillRef idx="0"/>
    <cs:effectRef idx="0"/>
    <cs:fontRef idx="minor">
      <a:schemeClr val="lt1">
        <a:lumMod val="85000"/>
      </a:schemeClr>
    </cs:fontRef>
    <cs:defRPr sz="1197" kern="1200"/>
  </cs:dataLabel>
  <cs:dataLabelCallout>
    <cs:lnRef idx="0"/>
    <cs:fillRef idx="0"/>
    <cs:effectRef idx="0"/>
    <cs:fontRef idx="minor">
      <a:schemeClr val="dk1">
        <a:lumMod val="65000"/>
        <a:lumOff val="35000"/>
      </a:schemeClr>
    </cs:fontRef>
    <cs:spPr>
      <a:solidFill>
        <a:schemeClr val="lt1"/>
      </a:solidFill>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1197" kern="1200"/>
  </cs:dataTable>
  <cs:downBar>
    <cs:lnRef idx="0"/>
    <cs:fillRef idx="0"/>
    <cs:effectRef idx="0"/>
    <cs:fontRef idx="minor">
      <a:schemeClr val="lt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lt1"/>
    </cs:fontRef>
    <cs:spPr>
      <a:ln w="9525">
        <a:solidFill>
          <a:schemeClr val="lt1">
            <a:lumMod val="95000"/>
            <a:alpha val="54000"/>
          </a:schemeClr>
        </a:solidFill>
        <a:prstDash val="dash"/>
      </a:ln>
    </cs:spPr>
  </cs:dropLine>
  <cs:errorBar>
    <cs:lnRef idx="0"/>
    <cs:fillRef idx="0"/>
    <cs:effectRef idx="0"/>
    <cs:fontRef idx="minor">
      <a:schemeClr val="lt1"/>
    </cs:fontRef>
    <cs:spPr>
      <a:ln w="9525" cap="flat" cmpd="sng" algn="ctr">
        <a:solidFill>
          <a:schemeClr val="lt1">
            <a:lumMod val="95000"/>
          </a:schemeClr>
        </a:solidFill>
        <a:round/>
      </a:ln>
    </cs:spPr>
  </cs:errorBar>
  <cs:floor>
    <cs:lnRef idx="0"/>
    <cs:fillRef idx="0"/>
    <cs:effectRef idx="0"/>
    <cs:fontRef idx="minor">
      <a:schemeClr val="lt1"/>
    </cs:fontRef>
  </cs:floor>
  <cs:gridlineMajor>
    <cs:lnRef idx="0"/>
    <cs:fillRef idx="0"/>
    <cs:effectRef idx="0"/>
    <cs:fontRef idx="minor">
      <a:schemeClr val="lt1"/>
    </cs:fontRef>
    <cs:spPr>
      <a:ln w="9525" cap="flat" cmpd="sng" algn="ctr">
        <a:solidFill>
          <a:schemeClr val="lt1">
            <a:lumMod val="95000"/>
            <a:alpha val="10000"/>
          </a:schemeClr>
        </a:solidFill>
        <a:round/>
      </a:ln>
    </cs:spPr>
  </cs:gridlineMajor>
  <cs:gridlineMinor>
    <cs:lnRef idx="0"/>
    <cs:fillRef idx="0"/>
    <cs:effectRef idx="0"/>
    <cs:fontRef idx="minor">
      <a:schemeClr val="lt1"/>
    </cs:fontRef>
    <cs:spPr>
      <a:ln>
        <a:solidFill>
          <a:schemeClr val="lt1">
            <a:lumMod val="95000"/>
            <a:alpha val="5000"/>
          </a:schemeClr>
        </a:solidFill>
      </a:ln>
    </cs:spPr>
  </cs:gridlineMinor>
  <cs:hiLoLine>
    <cs:lnRef idx="0"/>
    <cs:fillRef idx="0"/>
    <cs:effectRef idx="0"/>
    <cs:fontRef idx="minor">
      <a:schemeClr val="lt1"/>
    </cs:fontRef>
    <cs:spPr>
      <a:ln w="9525">
        <a:solidFill>
          <a:schemeClr val="lt1">
            <a:lumMod val="95000"/>
            <a:alpha val="54000"/>
          </a:schemeClr>
        </a:solidFill>
        <a:prstDash val="dash"/>
      </a:ln>
    </cs:spPr>
  </cs:hiLoLine>
  <cs:leaderLine>
    <cs:lnRef idx="0"/>
    <cs:fillRef idx="0"/>
    <cs:effectRef idx="0"/>
    <cs:fontRef idx="minor">
      <a:schemeClr val="lt1"/>
    </cs:fontRef>
    <cs:spPr>
      <a:ln w="9525">
        <a:solidFill>
          <a:schemeClr val="lt1">
            <a:lumMod val="95000"/>
            <a:alpha val="54000"/>
          </a:schemeClr>
        </a:solidFill>
      </a:ln>
    </cs:spPr>
  </cs:leaderLine>
  <cs:legend>
    <cs:lnRef idx="0"/>
    <cs:fillRef idx="0"/>
    <cs:effectRef idx="0"/>
    <cs:fontRef idx="minor">
      <a:schemeClr val="lt1">
        <a:lumMod val="8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2128"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lt1">
        <a:lumMod val="85000"/>
      </a:schemeClr>
    </cs:fontRef>
    <cs:defRPr sz="1197" kern="1200"/>
  </cs:trendlineLabel>
  <cs:upBar>
    <cs:lnRef idx="0"/>
    <cs:fillRef idx="0"/>
    <cs:effectRef idx="0"/>
    <cs:fontRef idx="minor">
      <a:schemeClr val="lt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1197" kern="1200"/>
  </cs:valueAxis>
  <cs:wall>
    <cs:lnRef idx="0"/>
    <cs:fillRef idx="0"/>
    <cs:effectRef idx="0"/>
    <cs:fontRef idx="minor">
      <a:schemeClr val="lt1"/>
    </cs:fontRef>
  </cs:wall>
</cs:chartStyle>
</file>

<file path=ppt/charts/style11.xml><?xml version="1.0" encoding="utf-8"?>
<cs:chartStyle xmlns:cs="http://schemas.microsoft.com/office/drawing/2012/chartStyle" xmlns:a="http://schemas.openxmlformats.org/drawingml/2006/main" id="206">
  <cs:axisTitle>
    <cs:lnRef idx="0"/>
    <cs:fillRef idx="0"/>
    <cs:effectRef idx="0"/>
    <cs:fontRef idx="minor">
      <a:schemeClr val="tx1">
        <a:lumMod val="50000"/>
        <a:lumOff val="50000"/>
      </a:schemeClr>
    </cs:fontRef>
    <cs:defRPr sz="1197" kern="1200" cap="all"/>
  </cs:axisTitle>
  <cs:category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50000"/>
        <a:lumOff val="50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
  <cs:dataPoint3D>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3D>
  <cs:dataPointLine>
    <cs:lnRef idx="0">
      <cs:styleClr val="auto"/>
    </cs:lnRef>
    <cs:fillRef idx="2">
      <cs:styleClr val="auto"/>
    </cs:fillRef>
    <cs:effectRef idx="1"/>
    <cs:fontRef idx="minor">
      <a:schemeClr val="dk1"/>
    </cs:fontRef>
    <cs:spPr>
      <a:ln w="15875" cap="rnd">
        <a:solidFill>
          <a:schemeClr val="phClr"/>
        </a:solidFill>
        <a:round/>
      </a:ln>
    </cs:spPr>
  </cs:dataPointLine>
  <cs:dataPointMarker>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Marker>
  <cs:dataPointMarkerLayout symbol="circle" size="4"/>
  <cs:dataPointWireframe>
    <cs:lnRef idx="0">
      <cs:styleClr val="auto"/>
    </cs:lnRef>
    <cs:fillRef idx="2"/>
    <cs:effectRef idx="0"/>
    <cs:fontRef idx="minor">
      <a:schemeClr val="dk1"/>
    </cs:fontRef>
    <cs:spPr>
      <a:ln w="9525" cap="rnd">
        <a:solidFill>
          <a:schemeClr val="phClr"/>
        </a:solidFill>
        <a:round/>
      </a:ln>
    </cs:spPr>
  </cs:dataPointWireframe>
  <cs:dataTable>
    <cs:lnRef idx="0"/>
    <cs:fillRef idx="0"/>
    <cs:effectRef idx="0"/>
    <cs:fontRef idx="minor">
      <a:schemeClr val="tx1">
        <a:lumMod val="50000"/>
        <a:lumOff val="50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prstDash val="dash"/>
      </a:ln>
    </cs:spPr>
  </cs:dropLine>
  <cs:errorBar>
    <cs:lnRef idx="0"/>
    <cs:fillRef idx="0"/>
    <cs:effectRef idx="0"/>
    <cs:fontRef idx="minor">
      <a:schemeClr val="dk1"/>
    </cs:fontRef>
    <cs:spPr>
      <a:ln w="9525">
        <a:solidFill>
          <a:schemeClr val="tx1">
            <a:lumMod val="50000"/>
            <a:lumOff val="50000"/>
          </a:schemeClr>
        </a:solidFill>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50000"/>
        <a:lumOff val="50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prstDash val="dash"/>
      </a:ln>
    </cs:spPr>
  </cs:seriesLine>
  <cs:title>
    <cs:lnRef idx="0"/>
    <cs:fillRef idx="0"/>
    <cs:effectRef idx="0"/>
    <cs:fontRef idx="minor">
      <a:schemeClr val="tx1">
        <a:lumMod val="50000"/>
        <a:lumOff val="50000"/>
      </a:schemeClr>
    </cs:fontRef>
    <cs:defRPr sz="1862" kern="1200" cap="none" spc="20" baseline="0"/>
  </cs:title>
  <cs:trendline>
    <cs:lnRef idx="0">
      <cs:styleClr val="auto"/>
    </cs:lnRef>
    <cs:fillRef idx="2"/>
    <cs:effectRef idx="0"/>
    <cs:fontRef idx="minor">
      <a:schemeClr val="dk1"/>
    </cs:fontRef>
    <cs:spPr>
      <a:ln w="9525" cap="rnd">
        <a:solidFill>
          <a:schemeClr val="phClr"/>
        </a:solidFill>
      </a:ln>
    </cs:spPr>
  </cs:trendline>
  <cs:trendlineLabel>
    <cs:lnRef idx="0"/>
    <cs:fillRef idx="0"/>
    <cs:effectRef idx="0"/>
    <cs:fontRef idx="minor">
      <a:schemeClr val="tx1">
        <a:lumMod val="50000"/>
        <a:lumOff val="50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50000"/>
        <a:lumOff val="50000"/>
      </a:schemeClr>
    </cs:fontRef>
    <cs:defRPr sz="1197" kern="1200"/>
  </cs:valueAxis>
  <cs:wall>
    <cs:lnRef idx="0"/>
    <cs:fillRef idx="0"/>
    <cs:effectRef idx="0"/>
    <cs:fontRef idx="minor">
      <a:schemeClr val="dk1"/>
    </cs:fontRef>
  </cs:wall>
</cs:chartStyle>
</file>

<file path=ppt/charts/style12.xml><?xml version="1.0" encoding="utf-8"?>
<cs:chartStyle xmlns:cs="http://schemas.microsoft.com/office/drawing/2012/chartStyle" xmlns:a="http://schemas.openxmlformats.org/drawingml/2006/main" id="206">
  <cs:axisTitle>
    <cs:lnRef idx="0"/>
    <cs:fillRef idx="0"/>
    <cs:effectRef idx="0"/>
    <cs:fontRef idx="minor">
      <a:schemeClr val="tx1">
        <a:lumMod val="50000"/>
        <a:lumOff val="50000"/>
      </a:schemeClr>
    </cs:fontRef>
    <cs:defRPr sz="1197" kern="1200" cap="all"/>
  </cs:axisTitle>
  <cs:category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50000"/>
        <a:lumOff val="50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
  <cs:dataPoint3D>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3D>
  <cs:dataPointLine>
    <cs:lnRef idx="0">
      <cs:styleClr val="auto"/>
    </cs:lnRef>
    <cs:fillRef idx="2">
      <cs:styleClr val="auto"/>
    </cs:fillRef>
    <cs:effectRef idx="1"/>
    <cs:fontRef idx="minor">
      <a:schemeClr val="dk1"/>
    </cs:fontRef>
    <cs:spPr>
      <a:ln w="15875" cap="rnd">
        <a:solidFill>
          <a:schemeClr val="phClr"/>
        </a:solidFill>
        <a:round/>
      </a:ln>
    </cs:spPr>
  </cs:dataPointLine>
  <cs:dataPointMarker>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Marker>
  <cs:dataPointMarkerLayout symbol="circle" size="4"/>
  <cs:dataPointWireframe>
    <cs:lnRef idx="0">
      <cs:styleClr val="auto"/>
    </cs:lnRef>
    <cs:fillRef idx="2"/>
    <cs:effectRef idx="0"/>
    <cs:fontRef idx="minor">
      <a:schemeClr val="dk1"/>
    </cs:fontRef>
    <cs:spPr>
      <a:ln w="9525" cap="rnd">
        <a:solidFill>
          <a:schemeClr val="phClr"/>
        </a:solidFill>
        <a:round/>
      </a:ln>
    </cs:spPr>
  </cs:dataPointWireframe>
  <cs:dataTable>
    <cs:lnRef idx="0"/>
    <cs:fillRef idx="0"/>
    <cs:effectRef idx="0"/>
    <cs:fontRef idx="minor">
      <a:schemeClr val="tx1">
        <a:lumMod val="50000"/>
        <a:lumOff val="50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prstDash val="dash"/>
      </a:ln>
    </cs:spPr>
  </cs:dropLine>
  <cs:errorBar>
    <cs:lnRef idx="0"/>
    <cs:fillRef idx="0"/>
    <cs:effectRef idx="0"/>
    <cs:fontRef idx="minor">
      <a:schemeClr val="dk1"/>
    </cs:fontRef>
    <cs:spPr>
      <a:ln w="9525">
        <a:solidFill>
          <a:schemeClr val="tx1">
            <a:lumMod val="50000"/>
            <a:lumOff val="50000"/>
          </a:schemeClr>
        </a:solidFill>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50000"/>
        <a:lumOff val="50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prstDash val="dash"/>
      </a:ln>
    </cs:spPr>
  </cs:seriesLine>
  <cs:title>
    <cs:lnRef idx="0"/>
    <cs:fillRef idx="0"/>
    <cs:effectRef idx="0"/>
    <cs:fontRef idx="minor">
      <a:schemeClr val="tx1">
        <a:lumMod val="50000"/>
        <a:lumOff val="50000"/>
      </a:schemeClr>
    </cs:fontRef>
    <cs:defRPr sz="1862" kern="1200" cap="none" spc="20" baseline="0"/>
  </cs:title>
  <cs:trendline>
    <cs:lnRef idx="0">
      <cs:styleClr val="auto"/>
    </cs:lnRef>
    <cs:fillRef idx="2"/>
    <cs:effectRef idx="0"/>
    <cs:fontRef idx="minor">
      <a:schemeClr val="dk1"/>
    </cs:fontRef>
    <cs:spPr>
      <a:ln w="9525" cap="rnd">
        <a:solidFill>
          <a:schemeClr val="phClr"/>
        </a:solidFill>
      </a:ln>
    </cs:spPr>
  </cs:trendline>
  <cs:trendlineLabel>
    <cs:lnRef idx="0"/>
    <cs:fillRef idx="0"/>
    <cs:effectRef idx="0"/>
    <cs:fontRef idx="minor">
      <a:schemeClr val="tx1">
        <a:lumMod val="50000"/>
        <a:lumOff val="50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50000"/>
        <a:lumOff val="50000"/>
      </a:schemeClr>
    </cs:fontRef>
    <cs:defRPr sz="1197" kern="1200"/>
  </cs:valueAxis>
  <cs:wall>
    <cs:lnRef idx="0"/>
    <cs:fillRef idx="0"/>
    <cs:effectRef idx="0"/>
    <cs:fontRef idx="minor">
      <a:schemeClr val="dk1"/>
    </cs:fontRef>
  </cs:wall>
</cs:chartStyle>
</file>

<file path=ppt/charts/style13.xml><?xml version="1.0" encoding="utf-8"?>
<cs:chartStyle xmlns:cs="http://schemas.microsoft.com/office/drawing/2012/chartStyle" xmlns:a="http://schemas.openxmlformats.org/drawingml/2006/main" id="206">
  <cs:axisTitle>
    <cs:lnRef idx="0"/>
    <cs:fillRef idx="0"/>
    <cs:effectRef idx="0"/>
    <cs:fontRef idx="minor">
      <a:schemeClr val="tx1">
        <a:lumMod val="50000"/>
        <a:lumOff val="50000"/>
      </a:schemeClr>
    </cs:fontRef>
    <cs:defRPr sz="1197" kern="1200" cap="all"/>
  </cs:axisTitle>
  <cs:category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50000"/>
        <a:lumOff val="50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
  <cs:dataPoint3D>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3D>
  <cs:dataPointLine>
    <cs:lnRef idx="0">
      <cs:styleClr val="auto"/>
    </cs:lnRef>
    <cs:fillRef idx="2">
      <cs:styleClr val="auto"/>
    </cs:fillRef>
    <cs:effectRef idx="1"/>
    <cs:fontRef idx="minor">
      <a:schemeClr val="dk1"/>
    </cs:fontRef>
    <cs:spPr>
      <a:ln w="15875" cap="rnd">
        <a:solidFill>
          <a:schemeClr val="phClr"/>
        </a:solidFill>
        <a:round/>
      </a:ln>
    </cs:spPr>
  </cs:dataPointLine>
  <cs:dataPointMarker>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Marker>
  <cs:dataPointMarkerLayout symbol="circle" size="4"/>
  <cs:dataPointWireframe>
    <cs:lnRef idx="0">
      <cs:styleClr val="auto"/>
    </cs:lnRef>
    <cs:fillRef idx="2"/>
    <cs:effectRef idx="0"/>
    <cs:fontRef idx="minor">
      <a:schemeClr val="dk1"/>
    </cs:fontRef>
    <cs:spPr>
      <a:ln w="9525" cap="rnd">
        <a:solidFill>
          <a:schemeClr val="phClr"/>
        </a:solidFill>
        <a:round/>
      </a:ln>
    </cs:spPr>
  </cs:dataPointWireframe>
  <cs:dataTable>
    <cs:lnRef idx="0"/>
    <cs:fillRef idx="0"/>
    <cs:effectRef idx="0"/>
    <cs:fontRef idx="minor">
      <a:schemeClr val="tx1">
        <a:lumMod val="50000"/>
        <a:lumOff val="50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prstDash val="dash"/>
      </a:ln>
    </cs:spPr>
  </cs:dropLine>
  <cs:errorBar>
    <cs:lnRef idx="0"/>
    <cs:fillRef idx="0"/>
    <cs:effectRef idx="0"/>
    <cs:fontRef idx="minor">
      <a:schemeClr val="dk1"/>
    </cs:fontRef>
    <cs:spPr>
      <a:ln w="9525">
        <a:solidFill>
          <a:schemeClr val="tx1">
            <a:lumMod val="50000"/>
            <a:lumOff val="50000"/>
          </a:schemeClr>
        </a:solidFill>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50000"/>
        <a:lumOff val="50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prstDash val="dash"/>
      </a:ln>
    </cs:spPr>
  </cs:seriesLine>
  <cs:title>
    <cs:lnRef idx="0"/>
    <cs:fillRef idx="0"/>
    <cs:effectRef idx="0"/>
    <cs:fontRef idx="minor">
      <a:schemeClr val="tx1">
        <a:lumMod val="50000"/>
        <a:lumOff val="50000"/>
      </a:schemeClr>
    </cs:fontRef>
    <cs:defRPr sz="1862" kern="1200" cap="none" spc="20" baseline="0"/>
  </cs:title>
  <cs:trendline>
    <cs:lnRef idx="0">
      <cs:styleClr val="auto"/>
    </cs:lnRef>
    <cs:fillRef idx="2"/>
    <cs:effectRef idx="0"/>
    <cs:fontRef idx="minor">
      <a:schemeClr val="dk1"/>
    </cs:fontRef>
    <cs:spPr>
      <a:ln w="9525" cap="rnd">
        <a:solidFill>
          <a:schemeClr val="phClr"/>
        </a:solidFill>
      </a:ln>
    </cs:spPr>
  </cs:trendline>
  <cs:trendlineLabel>
    <cs:lnRef idx="0"/>
    <cs:fillRef idx="0"/>
    <cs:effectRef idx="0"/>
    <cs:fontRef idx="minor">
      <a:schemeClr val="tx1">
        <a:lumMod val="50000"/>
        <a:lumOff val="50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50000"/>
        <a:lumOff val="50000"/>
      </a:schemeClr>
    </cs:fontRef>
    <cs:defRPr sz="1197" kern="1200"/>
  </cs:valueAxis>
  <cs:wall>
    <cs:lnRef idx="0"/>
    <cs:fillRef idx="0"/>
    <cs:effectRef idx="0"/>
    <cs:fontRef idx="minor">
      <a:schemeClr val="dk1"/>
    </cs:fontRef>
  </cs:wall>
</cs:chartStyle>
</file>

<file path=ppt/charts/style14.xml><?xml version="1.0" encoding="utf-8"?>
<cs:chartStyle xmlns:cs="http://schemas.microsoft.com/office/drawing/2012/chartStyle" xmlns:a="http://schemas.openxmlformats.org/drawingml/2006/main" id="206">
  <cs:axisTitle>
    <cs:lnRef idx="0"/>
    <cs:fillRef idx="0"/>
    <cs:effectRef idx="0"/>
    <cs:fontRef idx="minor">
      <a:schemeClr val="tx1">
        <a:lumMod val="50000"/>
        <a:lumOff val="50000"/>
      </a:schemeClr>
    </cs:fontRef>
    <cs:defRPr sz="1197" kern="1200" cap="all"/>
  </cs:axisTitle>
  <cs:category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50000"/>
        <a:lumOff val="50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
  <cs:dataPoint3D>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3D>
  <cs:dataPointLine>
    <cs:lnRef idx="0">
      <cs:styleClr val="auto"/>
    </cs:lnRef>
    <cs:fillRef idx="2">
      <cs:styleClr val="auto"/>
    </cs:fillRef>
    <cs:effectRef idx="1"/>
    <cs:fontRef idx="minor">
      <a:schemeClr val="dk1"/>
    </cs:fontRef>
    <cs:spPr>
      <a:ln w="15875" cap="rnd">
        <a:solidFill>
          <a:schemeClr val="phClr"/>
        </a:solidFill>
        <a:round/>
      </a:ln>
    </cs:spPr>
  </cs:dataPointLine>
  <cs:dataPointMarker>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Marker>
  <cs:dataPointMarkerLayout symbol="circle" size="4"/>
  <cs:dataPointWireframe>
    <cs:lnRef idx="0">
      <cs:styleClr val="auto"/>
    </cs:lnRef>
    <cs:fillRef idx="2"/>
    <cs:effectRef idx="0"/>
    <cs:fontRef idx="minor">
      <a:schemeClr val="dk1"/>
    </cs:fontRef>
    <cs:spPr>
      <a:ln w="9525" cap="rnd">
        <a:solidFill>
          <a:schemeClr val="phClr"/>
        </a:solidFill>
        <a:round/>
      </a:ln>
    </cs:spPr>
  </cs:dataPointWireframe>
  <cs:dataTable>
    <cs:lnRef idx="0"/>
    <cs:fillRef idx="0"/>
    <cs:effectRef idx="0"/>
    <cs:fontRef idx="minor">
      <a:schemeClr val="tx1">
        <a:lumMod val="50000"/>
        <a:lumOff val="50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prstDash val="dash"/>
      </a:ln>
    </cs:spPr>
  </cs:dropLine>
  <cs:errorBar>
    <cs:lnRef idx="0"/>
    <cs:fillRef idx="0"/>
    <cs:effectRef idx="0"/>
    <cs:fontRef idx="minor">
      <a:schemeClr val="dk1"/>
    </cs:fontRef>
    <cs:spPr>
      <a:ln w="9525">
        <a:solidFill>
          <a:schemeClr val="tx1">
            <a:lumMod val="50000"/>
            <a:lumOff val="50000"/>
          </a:schemeClr>
        </a:solidFill>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50000"/>
        <a:lumOff val="50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prstDash val="dash"/>
      </a:ln>
    </cs:spPr>
  </cs:seriesLine>
  <cs:title>
    <cs:lnRef idx="0"/>
    <cs:fillRef idx="0"/>
    <cs:effectRef idx="0"/>
    <cs:fontRef idx="minor">
      <a:schemeClr val="tx1">
        <a:lumMod val="50000"/>
        <a:lumOff val="50000"/>
      </a:schemeClr>
    </cs:fontRef>
    <cs:defRPr sz="1862" kern="1200" cap="none" spc="20" baseline="0"/>
  </cs:title>
  <cs:trendline>
    <cs:lnRef idx="0">
      <cs:styleClr val="auto"/>
    </cs:lnRef>
    <cs:fillRef idx="2"/>
    <cs:effectRef idx="0"/>
    <cs:fontRef idx="minor">
      <a:schemeClr val="dk1"/>
    </cs:fontRef>
    <cs:spPr>
      <a:ln w="9525" cap="rnd">
        <a:solidFill>
          <a:schemeClr val="phClr"/>
        </a:solidFill>
      </a:ln>
    </cs:spPr>
  </cs:trendline>
  <cs:trendlineLabel>
    <cs:lnRef idx="0"/>
    <cs:fillRef idx="0"/>
    <cs:effectRef idx="0"/>
    <cs:fontRef idx="minor">
      <a:schemeClr val="tx1">
        <a:lumMod val="50000"/>
        <a:lumOff val="50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50000"/>
        <a:lumOff val="50000"/>
      </a:schemeClr>
    </cs:fontRef>
    <cs:defRPr sz="1197" kern="1200"/>
  </cs:valueAxis>
  <cs:wall>
    <cs:lnRef idx="0"/>
    <cs:fillRef idx="0"/>
    <cs:effectRef idx="0"/>
    <cs:fontRef idx="minor">
      <a:schemeClr val="dk1"/>
    </cs:fontRef>
  </cs:wall>
</cs:chartStyle>
</file>

<file path=ppt/charts/style15.xml><?xml version="1.0" encoding="utf-8"?>
<cs:chartStyle xmlns:cs="http://schemas.microsoft.com/office/drawing/2012/chartStyle" xmlns:a="http://schemas.openxmlformats.org/drawingml/2006/main" id="206">
  <cs:axisTitle>
    <cs:lnRef idx="0"/>
    <cs:fillRef idx="0"/>
    <cs:effectRef idx="0"/>
    <cs:fontRef idx="minor">
      <a:schemeClr val="tx1">
        <a:lumMod val="50000"/>
        <a:lumOff val="50000"/>
      </a:schemeClr>
    </cs:fontRef>
    <cs:defRPr sz="1197" kern="1200" cap="all"/>
  </cs:axisTitle>
  <cs:category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50000"/>
        <a:lumOff val="50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
  <cs:dataPoint3D>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3D>
  <cs:dataPointLine>
    <cs:lnRef idx="0">
      <cs:styleClr val="auto"/>
    </cs:lnRef>
    <cs:fillRef idx="2">
      <cs:styleClr val="auto"/>
    </cs:fillRef>
    <cs:effectRef idx="1"/>
    <cs:fontRef idx="minor">
      <a:schemeClr val="dk1"/>
    </cs:fontRef>
    <cs:spPr>
      <a:ln w="15875" cap="rnd">
        <a:solidFill>
          <a:schemeClr val="phClr"/>
        </a:solidFill>
        <a:round/>
      </a:ln>
    </cs:spPr>
  </cs:dataPointLine>
  <cs:dataPointMarker>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Marker>
  <cs:dataPointMarkerLayout symbol="circle" size="4"/>
  <cs:dataPointWireframe>
    <cs:lnRef idx="0">
      <cs:styleClr val="auto"/>
    </cs:lnRef>
    <cs:fillRef idx="2"/>
    <cs:effectRef idx="0"/>
    <cs:fontRef idx="minor">
      <a:schemeClr val="dk1"/>
    </cs:fontRef>
    <cs:spPr>
      <a:ln w="9525" cap="rnd">
        <a:solidFill>
          <a:schemeClr val="phClr"/>
        </a:solidFill>
        <a:round/>
      </a:ln>
    </cs:spPr>
  </cs:dataPointWireframe>
  <cs:dataTable>
    <cs:lnRef idx="0"/>
    <cs:fillRef idx="0"/>
    <cs:effectRef idx="0"/>
    <cs:fontRef idx="minor">
      <a:schemeClr val="tx1">
        <a:lumMod val="50000"/>
        <a:lumOff val="50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prstDash val="dash"/>
      </a:ln>
    </cs:spPr>
  </cs:dropLine>
  <cs:errorBar>
    <cs:lnRef idx="0"/>
    <cs:fillRef idx="0"/>
    <cs:effectRef idx="0"/>
    <cs:fontRef idx="minor">
      <a:schemeClr val="dk1"/>
    </cs:fontRef>
    <cs:spPr>
      <a:ln w="9525">
        <a:solidFill>
          <a:schemeClr val="tx1">
            <a:lumMod val="50000"/>
            <a:lumOff val="50000"/>
          </a:schemeClr>
        </a:solidFill>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50000"/>
        <a:lumOff val="50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prstDash val="dash"/>
      </a:ln>
    </cs:spPr>
  </cs:seriesLine>
  <cs:title>
    <cs:lnRef idx="0"/>
    <cs:fillRef idx="0"/>
    <cs:effectRef idx="0"/>
    <cs:fontRef idx="minor">
      <a:schemeClr val="tx1">
        <a:lumMod val="50000"/>
        <a:lumOff val="50000"/>
      </a:schemeClr>
    </cs:fontRef>
    <cs:defRPr sz="1862" kern="1200" cap="none" spc="20" baseline="0"/>
  </cs:title>
  <cs:trendline>
    <cs:lnRef idx="0">
      <cs:styleClr val="auto"/>
    </cs:lnRef>
    <cs:fillRef idx="2"/>
    <cs:effectRef idx="0"/>
    <cs:fontRef idx="minor">
      <a:schemeClr val="dk1"/>
    </cs:fontRef>
    <cs:spPr>
      <a:ln w="9525" cap="rnd">
        <a:solidFill>
          <a:schemeClr val="phClr"/>
        </a:solidFill>
      </a:ln>
    </cs:spPr>
  </cs:trendline>
  <cs:trendlineLabel>
    <cs:lnRef idx="0"/>
    <cs:fillRef idx="0"/>
    <cs:effectRef idx="0"/>
    <cs:fontRef idx="minor">
      <a:schemeClr val="tx1">
        <a:lumMod val="50000"/>
        <a:lumOff val="50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50000"/>
        <a:lumOff val="50000"/>
      </a:schemeClr>
    </cs:fontRef>
    <cs:defRPr sz="1197" kern="1200"/>
  </cs:valueAxis>
  <cs:wall>
    <cs:lnRef idx="0"/>
    <cs:fillRef idx="0"/>
    <cs:effectRef idx="0"/>
    <cs:fontRef idx="minor">
      <a:schemeClr val="dk1"/>
    </cs:fontRef>
  </cs:wall>
</cs:chartStyle>
</file>

<file path=ppt/charts/style16.xml><?xml version="1.0" encoding="utf-8"?>
<cs:chartStyle xmlns:cs="http://schemas.microsoft.com/office/drawing/2012/chartStyle" xmlns:a="http://schemas.openxmlformats.org/drawingml/2006/main" id="206">
  <cs:axisTitle>
    <cs:lnRef idx="0"/>
    <cs:fillRef idx="0"/>
    <cs:effectRef idx="0"/>
    <cs:fontRef idx="minor">
      <a:schemeClr val="tx1">
        <a:lumMod val="50000"/>
        <a:lumOff val="50000"/>
      </a:schemeClr>
    </cs:fontRef>
    <cs:defRPr sz="1197" kern="1200" cap="all"/>
  </cs:axisTitle>
  <cs:category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50000"/>
        <a:lumOff val="50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
  <cs:dataPoint3D>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3D>
  <cs:dataPointLine>
    <cs:lnRef idx="0">
      <cs:styleClr val="auto"/>
    </cs:lnRef>
    <cs:fillRef idx="2">
      <cs:styleClr val="auto"/>
    </cs:fillRef>
    <cs:effectRef idx="1"/>
    <cs:fontRef idx="minor">
      <a:schemeClr val="dk1"/>
    </cs:fontRef>
    <cs:spPr>
      <a:ln w="15875" cap="rnd">
        <a:solidFill>
          <a:schemeClr val="phClr"/>
        </a:solidFill>
        <a:round/>
      </a:ln>
    </cs:spPr>
  </cs:dataPointLine>
  <cs:dataPointMarker>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Marker>
  <cs:dataPointMarkerLayout symbol="circle" size="4"/>
  <cs:dataPointWireframe>
    <cs:lnRef idx="0">
      <cs:styleClr val="auto"/>
    </cs:lnRef>
    <cs:fillRef idx="2"/>
    <cs:effectRef idx="0"/>
    <cs:fontRef idx="minor">
      <a:schemeClr val="dk1"/>
    </cs:fontRef>
    <cs:spPr>
      <a:ln w="9525" cap="rnd">
        <a:solidFill>
          <a:schemeClr val="phClr"/>
        </a:solidFill>
        <a:round/>
      </a:ln>
    </cs:spPr>
  </cs:dataPointWireframe>
  <cs:dataTable>
    <cs:lnRef idx="0"/>
    <cs:fillRef idx="0"/>
    <cs:effectRef idx="0"/>
    <cs:fontRef idx="minor">
      <a:schemeClr val="tx1">
        <a:lumMod val="50000"/>
        <a:lumOff val="50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prstDash val="dash"/>
      </a:ln>
    </cs:spPr>
  </cs:dropLine>
  <cs:errorBar>
    <cs:lnRef idx="0"/>
    <cs:fillRef idx="0"/>
    <cs:effectRef idx="0"/>
    <cs:fontRef idx="minor">
      <a:schemeClr val="dk1"/>
    </cs:fontRef>
    <cs:spPr>
      <a:ln w="9525">
        <a:solidFill>
          <a:schemeClr val="tx1">
            <a:lumMod val="50000"/>
            <a:lumOff val="50000"/>
          </a:schemeClr>
        </a:solidFill>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50000"/>
        <a:lumOff val="50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prstDash val="dash"/>
      </a:ln>
    </cs:spPr>
  </cs:seriesLine>
  <cs:title>
    <cs:lnRef idx="0"/>
    <cs:fillRef idx="0"/>
    <cs:effectRef idx="0"/>
    <cs:fontRef idx="minor">
      <a:schemeClr val="tx1">
        <a:lumMod val="50000"/>
        <a:lumOff val="50000"/>
      </a:schemeClr>
    </cs:fontRef>
    <cs:defRPr sz="1862" kern="1200" cap="none" spc="20" baseline="0"/>
  </cs:title>
  <cs:trendline>
    <cs:lnRef idx="0">
      <cs:styleClr val="auto"/>
    </cs:lnRef>
    <cs:fillRef idx="2"/>
    <cs:effectRef idx="0"/>
    <cs:fontRef idx="minor">
      <a:schemeClr val="dk1"/>
    </cs:fontRef>
    <cs:spPr>
      <a:ln w="9525" cap="rnd">
        <a:solidFill>
          <a:schemeClr val="phClr"/>
        </a:solidFill>
      </a:ln>
    </cs:spPr>
  </cs:trendline>
  <cs:trendlineLabel>
    <cs:lnRef idx="0"/>
    <cs:fillRef idx="0"/>
    <cs:effectRef idx="0"/>
    <cs:fontRef idx="minor">
      <a:schemeClr val="tx1">
        <a:lumMod val="50000"/>
        <a:lumOff val="50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50000"/>
        <a:lumOff val="50000"/>
      </a:schemeClr>
    </cs:fontRef>
    <cs:defRPr sz="1197" kern="1200"/>
  </cs:valueAxis>
  <cs:wall>
    <cs:lnRef idx="0"/>
    <cs:fillRef idx="0"/>
    <cs:effectRef idx="0"/>
    <cs:fontRef idx="minor">
      <a:schemeClr val="dk1"/>
    </cs:fontRef>
  </cs:wall>
</cs:chartStyle>
</file>

<file path=ppt/charts/style17.xml><?xml version="1.0" encoding="utf-8"?>
<cs:chartStyle xmlns:cs="http://schemas.microsoft.com/office/drawing/2012/chartStyle" xmlns:a="http://schemas.openxmlformats.org/drawingml/2006/main" id="206">
  <cs:axisTitle>
    <cs:lnRef idx="0"/>
    <cs:fillRef idx="0"/>
    <cs:effectRef idx="0"/>
    <cs:fontRef idx="minor">
      <a:schemeClr val="tx1">
        <a:lumMod val="50000"/>
        <a:lumOff val="50000"/>
      </a:schemeClr>
    </cs:fontRef>
    <cs:defRPr sz="1197" kern="1200" cap="all"/>
  </cs:axisTitle>
  <cs:category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50000"/>
        <a:lumOff val="50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
  <cs:dataPoint3D>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3D>
  <cs:dataPointLine>
    <cs:lnRef idx="0">
      <cs:styleClr val="auto"/>
    </cs:lnRef>
    <cs:fillRef idx="2">
      <cs:styleClr val="auto"/>
    </cs:fillRef>
    <cs:effectRef idx="1"/>
    <cs:fontRef idx="minor">
      <a:schemeClr val="dk1"/>
    </cs:fontRef>
    <cs:spPr>
      <a:ln w="15875" cap="rnd">
        <a:solidFill>
          <a:schemeClr val="phClr"/>
        </a:solidFill>
        <a:round/>
      </a:ln>
    </cs:spPr>
  </cs:dataPointLine>
  <cs:dataPointMarker>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Marker>
  <cs:dataPointMarkerLayout symbol="circle" size="4"/>
  <cs:dataPointWireframe>
    <cs:lnRef idx="0">
      <cs:styleClr val="auto"/>
    </cs:lnRef>
    <cs:fillRef idx="2"/>
    <cs:effectRef idx="0"/>
    <cs:fontRef idx="minor">
      <a:schemeClr val="dk1"/>
    </cs:fontRef>
    <cs:spPr>
      <a:ln w="9525" cap="rnd">
        <a:solidFill>
          <a:schemeClr val="phClr"/>
        </a:solidFill>
        <a:round/>
      </a:ln>
    </cs:spPr>
  </cs:dataPointWireframe>
  <cs:dataTable>
    <cs:lnRef idx="0"/>
    <cs:fillRef idx="0"/>
    <cs:effectRef idx="0"/>
    <cs:fontRef idx="minor">
      <a:schemeClr val="tx1">
        <a:lumMod val="50000"/>
        <a:lumOff val="50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prstDash val="dash"/>
      </a:ln>
    </cs:spPr>
  </cs:dropLine>
  <cs:errorBar>
    <cs:lnRef idx="0"/>
    <cs:fillRef idx="0"/>
    <cs:effectRef idx="0"/>
    <cs:fontRef idx="minor">
      <a:schemeClr val="dk1"/>
    </cs:fontRef>
    <cs:spPr>
      <a:ln w="9525">
        <a:solidFill>
          <a:schemeClr val="tx1">
            <a:lumMod val="50000"/>
            <a:lumOff val="50000"/>
          </a:schemeClr>
        </a:solidFill>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50000"/>
        <a:lumOff val="50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prstDash val="dash"/>
      </a:ln>
    </cs:spPr>
  </cs:seriesLine>
  <cs:title>
    <cs:lnRef idx="0"/>
    <cs:fillRef idx="0"/>
    <cs:effectRef idx="0"/>
    <cs:fontRef idx="minor">
      <a:schemeClr val="tx1">
        <a:lumMod val="50000"/>
        <a:lumOff val="50000"/>
      </a:schemeClr>
    </cs:fontRef>
    <cs:defRPr sz="1862" kern="1200" cap="none" spc="20" baseline="0"/>
  </cs:title>
  <cs:trendline>
    <cs:lnRef idx="0">
      <cs:styleClr val="auto"/>
    </cs:lnRef>
    <cs:fillRef idx="2"/>
    <cs:effectRef idx="0"/>
    <cs:fontRef idx="minor">
      <a:schemeClr val="dk1"/>
    </cs:fontRef>
    <cs:spPr>
      <a:ln w="9525" cap="rnd">
        <a:solidFill>
          <a:schemeClr val="phClr"/>
        </a:solidFill>
      </a:ln>
    </cs:spPr>
  </cs:trendline>
  <cs:trendlineLabel>
    <cs:lnRef idx="0"/>
    <cs:fillRef idx="0"/>
    <cs:effectRef idx="0"/>
    <cs:fontRef idx="minor">
      <a:schemeClr val="tx1">
        <a:lumMod val="50000"/>
        <a:lumOff val="50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50000"/>
        <a:lumOff val="50000"/>
      </a:schemeClr>
    </cs:fontRef>
    <cs:defRPr sz="1197" kern="1200"/>
  </cs:valueAxis>
  <cs:wall>
    <cs:lnRef idx="0"/>
    <cs:fillRef idx="0"/>
    <cs:effectRef idx="0"/>
    <cs:fontRef idx="minor">
      <a:schemeClr val="dk1"/>
    </cs:fontRef>
  </cs:wall>
</cs:chartStyle>
</file>

<file path=ppt/charts/style18.xml><?xml version="1.0" encoding="utf-8"?>
<cs:chartStyle xmlns:cs="http://schemas.microsoft.com/office/drawing/2012/chartStyle" xmlns:a="http://schemas.openxmlformats.org/drawingml/2006/main" id="206">
  <cs:axisTitle>
    <cs:lnRef idx="0"/>
    <cs:fillRef idx="0"/>
    <cs:effectRef idx="0"/>
    <cs:fontRef idx="minor">
      <a:schemeClr val="tx1">
        <a:lumMod val="50000"/>
        <a:lumOff val="50000"/>
      </a:schemeClr>
    </cs:fontRef>
    <cs:defRPr sz="1197" kern="1200" cap="all"/>
  </cs:axisTitle>
  <cs:category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50000"/>
        <a:lumOff val="50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
  <cs:dataPoint3D>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3D>
  <cs:dataPointLine>
    <cs:lnRef idx="0">
      <cs:styleClr val="auto"/>
    </cs:lnRef>
    <cs:fillRef idx="2">
      <cs:styleClr val="auto"/>
    </cs:fillRef>
    <cs:effectRef idx="1"/>
    <cs:fontRef idx="minor">
      <a:schemeClr val="dk1"/>
    </cs:fontRef>
    <cs:spPr>
      <a:ln w="15875" cap="rnd">
        <a:solidFill>
          <a:schemeClr val="phClr"/>
        </a:solidFill>
        <a:round/>
      </a:ln>
    </cs:spPr>
  </cs:dataPointLine>
  <cs:dataPointMarker>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Marker>
  <cs:dataPointMarkerLayout symbol="circle" size="4"/>
  <cs:dataPointWireframe>
    <cs:lnRef idx="0">
      <cs:styleClr val="auto"/>
    </cs:lnRef>
    <cs:fillRef idx="2"/>
    <cs:effectRef idx="0"/>
    <cs:fontRef idx="minor">
      <a:schemeClr val="dk1"/>
    </cs:fontRef>
    <cs:spPr>
      <a:ln w="9525" cap="rnd">
        <a:solidFill>
          <a:schemeClr val="phClr"/>
        </a:solidFill>
        <a:round/>
      </a:ln>
    </cs:spPr>
  </cs:dataPointWireframe>
  <cs:dataTable>
    <cs:lnRef idx="0"/>
    <cs:fillRef idx="0"/>
    <cs:effectRef idx="0"/>
    <cs:fontRef idx="minor">
      <a:schemeClr val="tx1">
        <a:lumMod val="50000"/>
        <a:lumOff val="50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prstDash val="dash"/>
      </a:ln>
    </cs:spPr>
  </cs:dropLine>
  <cs:errorBar>
    <cs:lnRef idx="0"/>
    <cs:fillRef idx="0"/>
    <cs:effectRef idx="0"/>
    <cs:fontRef idx="minor">
      <a:schemeClr val="dk1"/>
    </cs:fontRef>
    <cs:spPr>
      <a:ln w="9525">
        <a:solidFill>
          <a:schemeClr val="tx1">
            <a:lumMod val="50000"/>
            <a:lumOff val="50000"/>
          </a:schemeClr>
        </a:solidFill>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50000"/>
        <a:lumOff val="50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prstDash val="dash"/>
      </a:ln>
    </cs:spPr>
  </cs:seriesLine>
  <cs:title>
    <cs:lnRef idx="0"/>
    <cs:fillRef idx="0"/>
    <cs:effectRef idx="0"/>
    <cs:fontRef idx="minor">
      <a:schemeClr val="tx1">
        <a:lumMod val="50000"/>
        <a:lumOff val="50000"/>
      </a:schemeClr>
    </cs:fontRef>
    <cs:defRPr sz="1862" kern="1200" cap="none" spc="20" baseline="0"/>
  </cs:title>
  <cs:trendline>
    <cs:lnRef idx="0">
      <cs:styleClr val="auto"/>
    </cs:lnRef>
    <cs:fillRef idx="2"/>
    <cs:effectRef idx="0"/>
    <cs:fontRef idx="minor">
      <a:schemeClr val="dk1"/>
    </cs:fontRef>
    <cs:spPr>
      <a:ln w="9525" cap="rnd">
        <a:solidFill>
          <a:schemeClr val="phClr"/>
        </a:solidFill>
      </a:ln>
    </cs:spPr>
  </cs:trendline>
  <cs:trendlineLabel>
    <cs:lnRef idx="0"/>
    <cs:fillRef idx="0"/>
    <cs:effectRef idx="0"/>
    <cs:fontRef idx="minor">
      <a:schemeClr val="tx1">
        <a:lumMod val="50000"/>
        <a:lumOff val="50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50000"/>
        <a:lumOff val="50000"/>
      </a:schemeClr>
    </cs:fontRef>
    <cs:defRPr sz="1197" kern="1200"/>
  </cs:valueAxis>
  <cs:wall>
    <cs:lnRef idx="0"/>
    <cs:fillRef idx="0"/>
    <cs:effectRef idx="0"/>
    <cs:fontRef idx="minor">
      <a:schemeClr val="dk1"/>
    </cs:fontRef>
  </cs:wall>
</cs:chartStyle>
</file>

<file path=ppt/charts/style19.xml><?xml version="1.0" encoding="utf-8"?>
<cs:chartStyle xmlns:cs="http://schemas.microsoft.com/office/drawing/2012/chartStyle" xmlns:a="http://schemas.openxmlformats.org/drawingml/2006/main" id="206">
  <cs:axisTitle>
    <cs:lnRef idx="0"/>
    <cs:fillRef idx="0"/>
    <cs:effectRef idx="0"/>
    <cs:fontRef idx="minor">
      <a:schemeClr val="tx1">
        <a:lumMod val="50000"/>
        <a:lumOff val="50000"/>
      </a:schemeClr>
    </cs:fontRef>
    <cs:defRPr sz="1197" kern="1200" cap="all"/>
  </cs:axisTitle>
  <cs:category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50000"/>
        <a:lumOff val="50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
  <cs:dataPoint3D>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3D>
  <cs:dataPointLine>
    <cs:lnRef idx="0">
      <cs:styleClr val="auto"/>
    </cs:lnRef>
    <cs:fillRef idx="2">
      <cs:styleClr val="auto"/>
    </cs:fillRef>
    <cs:effectRef idx="1"/>
    <cs:fontRef idx="minor">
      <a:schemeClr val="dk1"/>
    </cs:fontRef>
    <cs:spPr>
      <a:ln w="15875" cap="rnd">
        <a:solidFill>
          <a:schemeClr val="phClr"/>
        </a:solidFill>
        <a:round/>
      </a:ln>
    </cs:spPr>
  </cs:dataPointLine>
  <cs:dataPointMarker>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Marker>
  <cs:dataPointMarkerLayout symbol="circle" size="4"/>
  <cs:dataPointWireframe>
    <cs:lnRef idx="0">
      <cs:styleClr val="auto"/>
    </cs:lnRef>
    <cs:fillRef idx="2"/>
    <cs:effectRef idx="0"/>
    <cs:fontRef idx="minor">
      <a:schemeClr val="dk1"/>
    </cs:fontRef>
    <cs:spPr>
      <a:ln w="9525" cap="rnd">
        <a:solidFill>
          <a:schemeClr val="phClr"/>
        </a:solidFill>
        <a:round/>
      </a:ln>
    </cs:spPr>
  </cs:dataPointWireframe>
  <cs:dataTable>
    <cs:lnRef idx="0"/>
    <cs:fillRef idx="0"/>
    <cs:effectRef idx="0"/>
    <cs:fontRef idx="minor">
      <a:schemeClr val="tx1">
        <a:lumMod val="50000"/>
        <a:lumOff val="50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prstDash val="dash"/>
      </a:ln>
    </cs:spPr>
  </cs:dropLine>
  <cs:errorBar>
    <cs:lnRef idx="0"/>
    <cs:fillRef idx="0"/>
    <cs:effectRef idx="0"/>
    <cs:fontRef idx="minor">
      <a:schemeClr val="dk1"/>
    </cs:fontRef>
    <cs:spPr>
      <a:ln w="9525">
        <a:solidFill>
          <a:schemeClr val="tx1">
            <a:lumMod val="50000"/>
            <a:lumOff val="50000"/>
          </a:schemeClr>
        </a:solidFill>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50000"/>
        <a:lumOff val="50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prstDash val="dash"/>
      </a:ln>
    </cs:spPr>
  </cs:seriesLine>
  <cs:title>
    <cs:lnRef idx="0"/>
    <cs:fillRef idx="0"/>
    <cs:effectRef idx="0"/>
    <cs:fontRef idx="minor">
      <a:schemeClr val="tx1">
        <a:lumMod val="50000"/>
        <a:lumOff val="50000"/>
      </a:schemeClr>
    </cs:fontRef>
    <cs:defRPr sz="1862" kern="1200" cap="none" spc="20" baseline="0"/>
  </cs:title>
  <cs:trendline>
    <cs:lnRef idx="0">
      <cs:styleClr val="auto"/>
    </cs:lnRef>
    <cs:fillRef idx="2"/>
    <cs:effectRef idx="0"/>
    <cs:fontRef idx="minor">
      <a:schemeClr val="dk1"/>
    </cs:fontRef>
    <cs:spPr>
      <a:ln w="9525" cap="rnd">
        <a:solidFill>
          <a:schemeClr val="phClr"/>
        </a:solidFill>
      </a:ln>
    </cs:spPr>
  </cs:trendline>
  <cs:trendlineLabel>
    <cs:lnRef idx="0"/>
    <cs:fillRef idx="0"/>
    <cs:effectRef idx="0"/>
    <cs:fontRef idx="minor">
      <a:schemeClr val="tx1">
        <a:lumMod val="50000"/>
        <a:lumOff val="50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50000"/>
        <a:lumOff val="50000"/>
      </a:schemeClr>
    </cs:fontRef>
    <cs:defRPr sz="1197"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6">
  <cs:axisTitle>
    <cs:lnRef idx="0"/>
    <cs:fillRef idx="0"/>
    <cs:effectRef idx="0"/>
    <cs:fontRef idx="minor">
      <a:schemeClr val="tx1">
        <a:lumMod val="50000"/>
        <a:lumOff val="50000"/>
      </a:schemeClr>
    </cs:fontRef>
    <cs:defRPr sz="1197" kern="1200" cap="all"/>
  </cs:axisTitle>
  <cs:category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50000"/>
        <a:lumOff val="50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
  <cs:dataPoint3D>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3D>
  <cs:dataPointLine>
    <cs:lnRef idx="0">
      <cs:styleClr val="auto"/>
    </cs:lnRef>
    <cs:fillRef idx="2">
      <cs:styleClr val="auto"/>
    </cs:fillRef>
    <cs:effectRef idx="1"/>
    <cs:fontRef idx="minor">
      <a:schemeClr val="dk1"/>
    </cs:fontRef>
    <cs:spPr>
      <a:ln w="15875" cap="rnd">
        <a:solidFill>
          <a:schemeClr val="phClr"/>
        </a:solidFill>
        <a:round/>
      </a:ln>
    </cs:spPr>
  </cs:dataPointLine>
  <cs:dataPointMarker>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Marker>
  <cs:dataPointMarkerLayout symbol="circle" size="4"/>
  <cs:dataPointWireframe>
    <cs:lnRef idx="0">
      <cs:styleClr val="auto"/>
    </cs:lnRef>
    <cs:fillRef idx="2"/>
    <cs:effectRef idx="0"/>
    <cs:fontRef idx="minor">
      <a:schemeClr val="dk1"/>
    </cs:fontRef>
    <cs:spPr>
      <a:ln w="9525" cap="rnd">
        <a:solidFill>
          <a:schemeClr val="phClr"/>
        </a:solidFill>
        <a:round/>
      </a:ln>
    </cs:spPr>
  </cs:dataPointWireframe>
  <cs:dataTable>
    <cs:lnRef idx="0"/>
    <cs:fillRef idx="0"/>
    <cs:effectRef idx="0"/>
    <cs:fontRef idx="minor">
      <a:schemeClr val="tx1">
        <a:lumMod val="50000"/>
        <a:lumOff val="50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prstDash val="dash"/>
      </a:ln>
    </cs:spPr>
  </cs:dropLine>
  <cs:errorBar>
    <cs:lnRef idx="0"/>
    <cs:fillRef idx="0"/>
    <cs:effectRef idx="0"/>
    <cs:fontRef idx="minor">
      <a:schemeClr val="dk1"/>
    </cs:fontRef>
    <cs:spPr>
      <a:ln w="9525">
        <a:solidFill>
          <a:schemeClr val="tx1">
            <a:lumMod val="50000"/>
            <a:lumOff val="50000"/>
          </a:schemeClr>
        </a:solidFill>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50000"/>
        <a:lumOff val="50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prstDash val="dash"/>
      </a:ln>
    </cs:spPr>
  </cs:seriesLine>
  <cs:title>
    <cs:lnRef idx="0"/>
    <cs:fillRef idx="0"/>
    <cs:effectRef idx="0"/>
    <cs:fontRef idx="minor">
      <a:schemeClr val="tx1">
        <a:lumMod val="50000"/>
        <a:lumOff val="50000"/>
      </a:schemeClr>
    </cs:fontRef>
    <cs:defRPr sz="1862" kern="1200" cap="none" spc="20" baseline="0"/>
  </cs:title>
  <cs:trendline>
    <cs:lnRef idx="0">
      <cs:styleClr val="auto"/>
    </cs:lnRef>
    <cs:fillRef idx="2"/>
    <cs:effectRef idx="0"/>
    <cs:fontRef idx="minor">
      <a:schemeClr val="dk1"/>
    </cs:fontRef>
    <cs:spPr>
      <a:ln w="9525" cap="rnd">
        <a:solidFill>
          <a:schemeClr val="phClr"/>
        </a:solidFill>
      </a:ln>
    </cs:spPr>
  </cs:trendline>
  <cs:trendlineLabel>
    <cs:lnRef idx="0"/>
    <cs:fillRef idx="0"/>
    <cs:effectRef idx="0"/>
    <cs:fontRef idx="minor">
      <a:schemeClr val="tx1">
        <a:lumMod val="50000"/>
        <a:lumOff val="50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50000"/>
        <a:lumOff val="50000"/>
      </a:schemeClr>
    </cs:fontRef>
    <cs:defRPr sz="1197" kern="1200"/>
  </cs:valueAxis>
  <cs:wall>
    <cs:lnRef idx="0"/>
    <cs:fillRef idx="0"/>
    <cs:effectRef idx="0"/>
    <cs:fontRef idx="minor">
      <a:schemeClr val="dk1"/>
    </cs:fontRef>
  </cs:wall>
</cs:chartStyle>
</file>

<file path=ppt/charts/style21.xml><?xml version="1.0" encoding="utf-8"?>
<cs:chartStyle xmlns:cs="http://schemas.microsoft.com/office/drawing/2012/chartStyle" xmlns:a="http://schemas.openxmlformats.org/drawingml/2006/main" id="206">
  <cs:axisTitle>
    <cs:lnRef idx="0"/>
    <cs:fillRef idx="0"/>
    <cs:effectRef idx="0"/>
    <cs:fontRef idx="minor">
      <a:schemeClr val="tx1">
        <a:lumMod val="50000"/>
        <a:lumOff val="50000"/>
      </a:schemeClr>
    </cs:fontRef>
    <cs:defRPr sz="1197" kern="1200" cap="all"/>
  </cs:axisTitle>
  <cs:category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50000"/>
        <a:lumOff val="50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
  <cs:dataPoint3D>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3D>
  <cs:dataPointLine>
    <cs:lnRef idx="0">
      <cs:styleClr val="auto"/>
    </cs:lnRef>
    <cs:fillRef idx="2">
      <cs:styleClr val="auto"/>
    </cs:fillRef>
    <cs:effectRef idx="1"/>
    <cs:fontRef idx="minor">
      <a:schemeClr val="dk1"/>
    </cs:fontRef>
    <cs:spPr>
      <a:ln w="15875" cap="rnd">
        <a:solidFill>
          <a:schemeClr val="phClr"/>
        </a:solidFill>
        <a:round/>
      </a:ln>
    </cs:spPr>
  </cs:dataPointLine>
  <cs:dataPointMarker>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Marker>
  <cs:dataPointMarkerLayout symbol="circle" size="4"/>
  <cs:dataPointWireframe>
    <cs:lnRef idx="0">
      <cs:styleClr val="auto"/>
    </cs:lnRef>
    <cs:fillRef idx="2"/>
    <cs:effectRef idx="0"/>
    <cs:fontRef idx="minor">
      <a:schemeClr val="dk1"/>
    </cs:fontRef>
    <cs:spPr>
      <a:ln w="9525" cap="rnd">
        <a:solidFill>
          <a:schemeClr val="phClr"/>
        </a:solidFill>
        <a:round/>
      </a:ln>
    </cs:spPr>
  </cs:dataPointWireframe>
  <cs:dataTable>
    <cs:lnRef idx="0"/>
    <cs:fillRef idx="0"/>
    <cs:effectRef idx="0"/>
    <cs:fontRef idx="minor">
      <a:schemeClr val="tx1">
        <a:lumMod val="50000"/>
        <a:lumOff val="50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prstDash val="dash"/>
      </a:ln>
    </cs:spPr>
  </cs:dropLine>
  <cs:errorBar>
    <cs:lnRef idx="0"/>
    <cs:fillRef idx="0"/>
    <cs:effectRef idx="0"/>
    <cs:fontRef idx="minor">
      <a:schemeClr val="dk1"/>
    </cs:fontRef>
    <cs:spPr>
      <a:ln w="9525">
        <a:solidFill>
          <a:schemeClr val="tx1">
            <a:lumMod val="50000"/>
            <a:lumOff val="50000"/>
          </a:schemeClr>
        </a:solidFill>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50000"/>
        <a:lumOff val="50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prstDash val="dash"/>
      </a:ln>
    </cs:spPr>
  </cs:seriesLine>
  <cs:title>
    <cs:lnRef idx="0"/>
    <cs:fillRef idx="0"/>
    <cs:effectRef idx="0"/>
    <cs:fontRef idx="minor">
      <a:schemeClr val="tx1">
        <a:lumMod val="50000"/>
        <a:lumOff val="50000"/>
      </a:schemeClr>
    </cs:fontRef>
    <cs:defRPr sz="1862" kern="1200" cap="none" spc="20" baseline="0"/>
  </cs:title>
  <cs:trendline>
    <cs:lnRef idx="0">
      <cs:styleClr val="auto"/>
    </cs:lnRef>
    <cs:fillRef idx="2"/>
    <cs:effectRef idx="0"/>
    <cs:fontRef idx="minor">
      <a:schemeClr val="dk1"/>
    </cs:fontRef>
    <cs:spPr>
      <a:ln w="9525" cap="rnd">
        <a:solidFill>
          <a:schemeClr val="phClr"/>
        </a:solidFill>
      </a:ln>
    </cs:spPr>
  </cs:trendline>
  <cs:trendlineLabel>
    <cs:lnRef idx="0"/>
    <cs:fillRef idx="0"/>
    <cs:effectRef idx="0"/>
    <cs:fontRef idx="minor">
      <a:schemeClr val="tx1">
        <a:lumMod val="50000"/>
        <a:lumOff val="50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50000"/>
        <a:lumOff val="50000"/>
      </a:schemeClr>
    </cs:fontRef>
    <cs:defRPr sz="1197" kern="1200"/>
  </cs:valueAxis>
  <cs:wall>
    <cs:lnRef idx="0"/>
    <cs:fillRef idx="0"/>
    <cs:effectRef idx="0"/>
    <cs:fontRef idx="minor">
      <a:schemeClr val="dk1"/>
    </cs:fontRef>
  </cs:wall>
</cs:chartStyle>
</file>

<file path=ppt/charts/style22.xml><?xml version="1.0" encoding="utf-8"?>
<cs:chartStyle xmlns:cs="http://schemas.microsoft.com/office/drawing/2012/chartStyle" xmlns:a="http://schemas.openxmlformats.org/drawingml/2006/main" id="206">
  <cs:axisTitle>
    <cs:lnRef idx="0"/>
    <cs:fillRef idx="0"/>
    <cs:effectRef idx="0"/>
    <cs:fontRef idx="minor">
      <a:schemeClr val="tx1">
        <a:lumMod val="50000"/>
        <a:lumOff val="50000"/>
      </a:schemeClr>
    </cs:fontRef>
    <cs:defRPr sz="1197" kern="1200" cap="all"/>
  </cs:axisTitle>
  <cs:category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50000"/>
        <a:lumOff val="50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
  <cs:dataPoint3D>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3D>
  <cs:dataPointLine>
    <cs:lnRef idx="0">
      <cs:styleClr val="auto"/>
    </cs:lnRef>
    <cs:fillRef idx="2">
      <cs:styleClr val="auto"/>
    </cs:fillRef>
    <cs:effectRef idx="1"/>
    <cs:fontRef idx="minor">
      <a:schemeClr val="dk1"/>
    </cs:fontRef>
    <cs:spPr>
      <a:ln w="15875" cap="rnd">
        <a:solidFill>
          <a:schemeClr val="phClr"/>
        </a:solidFill>
        <a:round/>
      </a:ln>
    </cs:spPr>
  </cs:dataPointLine>
  <cs:dataPointMarker>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Marker>
  <cs:dataPointMarkerLayout symbol="circle" size="4"/>
  <cs:dataPointWireframe>
    <cs:lnRef idx="0">
      <cs:styleClr val="auto"/>
    </cs:lnRef>
    <cs:fillRef idx="2"/>
    <cs:effectRef idx="0"/>
    <cs:fontRef idx="minor">
      <a:schemeClr val="dk1"/>
    </cs:fontRef>
    <cs:spPr>
      <a:ln w="9525" cap="rnd">
        <a:solidFill>
          <a:schemeClr val="phClr"/>
        </a:solidFill>
        <a:round/>
      </a:ln>
    </cs:spPr>
  </cs:dataPointWireframe>
  <cs:dataTable>
    <cs:lnRef idx="0"/>
    <cs:fillRef idx="0"/>
    <cs:effectRef idx="0"/>
    <cs:fontRef idx="minor">
      <a:schemeClr val="tx1">
        <a:lumMod val="50000"/>
        <a:lumOff val="50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prstDash val="dash"/>
      </a:ln>
    </cs:spPr>
  </cs:dropLine>
  <cs:errorBar>
    <cs:lnRef idx="0"/>
    <cs:fillRef idx="0"/>
    <cs:effectRef idx="0"/>
    <cs:fontRef idx="minor">
      <a:schemeClr val="dk1"/>
    </cs:fontRef>
    <cs:spPr>
      <a:ln w="9525">
        <a:solidFill>
          <a:schemeClr val="tx1">
            <a:lumMod val="50000"/>
            <a:lumOff val="50000"/>
          </a:schemeClr>
        </a:solidFill>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50000"/>
        <a:lumOff val="50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prstDash val="dash"/>
      </a:ln>
    </cs:spPr>
  </cs:seriesLine>
  <cs:title>
    <cs:lnRef idx="0"/>
    <cs:fillRef idx="0"/>
    <cs:effectRef idx="0"/>
    <cs:fontRef idx="minor">
      <a:schemeClr val="tx1">
        <a:lumMod val="50000"/>
        <a:lumOff val="50000"/>
      </a:schemeClr>
    </cs:fontRef>
    <cs:defRPr sz="1862" kern="1200" cap="none" spc="20" baseline="0"/>
  </cs:title>
  <cs:trendline>
    <cs:lnRef idx="0">
      <cs:styleClr val="auto"/>
    </cs:lnRef>
    <cs:fillRef idx="2"/>
    <cs:effectRef idx="0"/>
    <cs:fontRef idx="minor">
      <a:schemeClr val="dk1"/>
    </cs:fontRef>
    <cs:spPr>
      <a:ln w="9525" cap="rnd">
        <a:solidFill>
          <a:schemeClr val="phClr"/>
        </a:solidFill>
      </a:ln>
    </cs:spPr>
  </cs:trendline>
  <cs:trendlineLabel>
    <cs:lnRef idx="0"/>
    <cs:fillRef idx="0"/>
    <cs:effectRef idx="0"/>
    <cs:fontRef idx="minor">
      <a:schemeClr val="tx1">
        <a:lumMod val="50000"/>
        <a:lumOff val="50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50000"/>
        <a:lumOff val="50000"/>
      </a:schemeClr>
    </cs:fontRef>
    <cs:defRPr sz="1197" kern="1200"/>
  </cs:valueAxis>
  <cs:wall>
    <cs:lnRef idx="0"/>
    <cs:fillRef idx="0"/>
    <cs:effectRef idx="0"/>
    <cs:fontRef idx="minor">
      <a:schemeClr val="dk1"/>
    </cs:fontRef>
  </cs:wall>
</cs:chartStyle>
</file>

<file path=ppt/charts/style23.xml><?xml version="1.0" encoding="utf-8"?>
<cs:chartStyle xmlns:cs="http://schemas.microsoft.com/office/drawing/2012/chartStyle" xmlns:a="http://schemas.openxmlformats.org/drawingml/2006/main" id="206">
  <cs:axisTitle>
    <cs:lnRef idx="0"/>
    <cs:fillRef idx="0"/>
    <cs:effectRef idx="0"/>
    <cs:fontRef idx="minor">
      <a:schemeClr val="tx1">
        <a:lumMod val="50000"/>
        <a:lumOff val="50000"/>
      </a:schemeClr>
    </cs:fontRef>
    <cs:defRPr sz="1197" kern="1200" cap="all"/>
  </cs:axisTitle>
  <cs:category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50000"/>
        <a:lumOff val="50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
  <cs:dataPoint3D>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3D>
  <cs:dataPointLine>
    <cs:lnRef idx="0">
      <cs:styleClr val="auto"/>
    </cs:lnRef>
    <cs:fillRef idx="2">
      <cs:styleClr val="auto"/>
    </cs:fillRef>
    <cs:effectRef idx="1"/>
    <cs:fontRef idx="minor">
      <a:schemeClr val="dk1"/>
    </cs:fontRef>
    <cs:spPr>
      <a:ln w="15875" cap="rnd">
        <a:solidFill>
          <a:schemeClr val="phClr"/>
        </a:solidFill>
        <a:round/>
      </a:ln>
    </cs:spPr>
  </cs:dataPointLine>
  <cs:dataPointMarker>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Marker>
  <cs:dataPointMarkerLayout symbol="circle" size="4"/>
  <cs:dataPointWireframe>
    <cs:lnRef idx="0">
      <cs:styleClr val="auto"/>
    </cs:lnRef>
    <cs:fillRef idx="2"/>
    <cs:effectRef idx="0"/>
    <cs:fontRef idx="minor">
      <a:schemeClr val="dk1"/>
    </cs:fontRef>
    <cs:spPr>
      <a:ln w="9525" cap="rnd">
        <a:solidFill>
          <a:schemeClr val="phClr"/>
        </a:solidFill>
        <a:round/>
      </a:ln>
    </cs:spPr>
  </cs:dataPointWireframe>
  <cs:dataTable>
    <cs:lnRef idx="0"/>
    <cs:fillRef idx="0"/>
    <cs:effectRef idx="0"/>
    <cs:fontRef idx="minor">
      <a:schemeClr val="tx1">
        <a:lumMod val="50000"/>
        <a:lumOff val="50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prstDash val="dash"/>
      </a:ln>
    </cs:spPr>
  </cs:dropLine>
  <cs:errorBar>
    <cs:lnRef idx="0"/>
    <cs:fillRef idx="0"/>
    <cs:effectRef idx="0"/>
    <cs:fontRef idx="minor">
      <a:schemeClr val="dk1"/>
    </cs:fontRef>
    <cs:spPr>
      <a:ln w="9525">
        <a:solidFill>
          <a:schemeClr val="tx1">
            <a:lumMod val="50000"/>
            <a:lumOff val="50000"/>
          </a:schemeClr>
        </a:solidFill>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50000"/>
        <a:lumOff val="50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prstDash val="dash"/>
      </a:ln>
    </cs:spPr>
  </cs:seriesLine>
  <cs:title>
    <cs:lnRef idx="0"/>
    <cs:fillRef idx="0"/>
    <cs:effectRef idx="0"/>
    <cs:fontRef idx="minor">
      <a:schemeClr val="tx1">
        <a:lumMod val="50000"/>
        <a:lumOff val="50000"/>
      </a:schemeClr>
    </cs:fontRef>
    <cs:defRPr sz="1862" kern="1200" cap="none" spc="20" baseline="0"/>
  </cs:title>
  <cs:trendline>
    <cs:lnRef idx="0">
      <cs:styleClr val="auto"/>
    </cs:lnRef>
    <cs:fillRef idx="2"/>
    <cs:effectRef idx="0"/>
    <cs:fontRef idx="minor">
      <a:schemeClr val="dk1"/>
    </cs:fontRef>
    <cs:spPr>
      <a:ln w="9525" cap="rnd">
        <a:solidFill>
          <a:schemeClr val="phClr"/>
        </a:solidFill>
      </a:ln>
    </cs:spPr>
  </cs:trendline>
  <cs:trendlineLabel>
    <cs:lnRef idx="0"/>
    <cs:fillRef idx="0"/>
    <cs:effectRef idx="0"/>
    <cs:fontRef idx="minor">
      <a:schemeClr val="tx1">
        <a:lumMod val="50000"/>
        <a:lumOff val="50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50000"/>
        <a:lumOff val="50000"/>
      </a:schemeClr>
    </cs:fontRef>
    <cs:defRPr sz="1197" kern="1200"/>
  </cs:valueAxis>
  <cs:wall>
    <cs:lnRef idx="0"/>
    <cs:fillRef idx="0"/>
    <cs:effectRef idx="0"/>
    <cs:fontRef idx="minor">
      <a:schemeClr val="dk1"/>
    </cs:fontRef>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3">
  <cs:axisTitle>
    <cs:lnRef idx="0"/>
    <cs:fillRef idx="0"/>
    <cs:effectRef idx="0"/>
    <cs:fontRef idx="minor">
      <a:schemeClr val="dk1">
        <a:lumMod val="75000"/>
        <a:lumOff val="25000"/>
      </a:schemeClr>
    </cs:fontRef>
    <cs:defRPr sz="900"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900"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900" kern="1200"/>
  </cs:chartArea>
  <cs:dataLabel>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000" b="1" i="0" u="none" strike="noStrike" kern="1200" baseline="0"/>
  </cs:dataLabel>
  <cs:dataLabelCallout>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000" b="1" i="0" u="none" strike="noStrike" kern="1200" baseline="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900"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900"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900"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18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900"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900" kern="1200"/>
  </cs:valueAxis>
  <cs:wall>
    <cs:lnRef idx="0"/>
    <cs:fillRef idx="0"/>
    <cs:effectRef idx="0"/>
    <cs:fontRef idx="minor">
      <a:schemeClr val="dk1"/>
    </cs:fontRef>
  </cs:wall>
</cs:chartStyle>
</file>

<file path=ppt/charts/style5.xml><?xml version="1.0" encoding="utf-8"?>
<cs:chartStyle xmlns:cs="http://schemas.microsoft.com/office/drawing/2012/chartStyle" xmlns:a="http://schemas.openxmlformats.org/drawingml/2006/main" id="253">
  <cs:axisTitle>
    <cs:lnRef idx="0"/>
    <cs:fillRef idx="0"/>
    <cs:effectRef idx="0"/>
    <cs:fontRef idx="minor">
      <a:schemeClr val="dk1">
        <a:lumMod val="75000"/>
        <a:lumOff val="25000"/>
      </a:schemeClr>
    </cs:fontRef>
    <cs:defRPr sz="900"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900"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900" kern="1200"/>
  </cs:chartArea>
  <cs:dataLabel>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000" b="1" i="0" u="none" strike="noStrike" kern="1200" baseline="0"/>
  </cs:dataLabel>
  <cs:dataLabelCallout>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000" b="1" i="0" u="none" strike="noStrike" kern="1200" baseline="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900"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900"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900"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18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900"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900" kern="1200"/>
  </cs:valueAxis>
  <cs:wall>
    <cs:lnRef idx="0"/>
    <cs:fillRef idx="0"/>
    <cs:effectRef idx="0"/>
    <cs:fontRef idx="minor">
      <a:schemeClr val="dk1"/>
    </cs:fontRef>
  </cs:wall>
</cs:chartStyle>
</file>

<file path=ppt/charts/style6.xml><?xml version="1.0" encoding="utf-8"?>
<cs:chartStyle xmlns:cs="http://schemas.microsoft.com/office/drawing/2012/chartStyle" xmlns:a="http://schemas.openxmlformats.org/drawingml/2006/main" id="253">
  <cs:axisTitle>
    <cs:lnRef idx="0"/>
    <cs:fillRef idx="0"/>
    <cs:effectRef idx="0"/>
    <cs:fontRef idx="minor">
      <a:schemeClr val="dk1">
        <a:lumMod val="75000"/>
        <a:lumOff val="25000"/>
      </a:schemeClr>
    </cs:fontRef>
    <cs:defRPr sz="900"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900"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900" kern="1200"/>
  </cs:chartArea>
  <cs:dataLabel>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000" b="1" i="0" u="none" strike="noStrike" kern="1200" baseline="0"/>
  </cs:dataLabel>
  <cs:dataLabelCallout>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000" b="1" i="0" u="none" strike="noStrike" kern="1200" baseline="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900"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900"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900"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18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900"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900" kern="1200"/>
  </cs:valueAxis>
  <cs:wall>
    <cs:lnRef idx="0"/>
    <cs:fillRef idx="0"/>
    <cs:effectRef idx="0"/>
    <cs:fontRef idx="minor">
      <a:schemeClr val="dk1"/>
    </cs:fontRef>
  </cs:wall>
</cs:chartStyle>
</file>

<file path=ppt/charts/style7.xml><?xml version="1.0" encoding="utf-8"?>
<cs:chartStyle xmlns:cs="http://schemas.microsoft.com/office/drawing/2012/chartStyle" xmlns:a="http://schemas.openxmlformats.org/drawingml/2006/main" id="253">
  <cs:axisTitle>
    <cs:lnRef idx="0"/>
    <cs:fillRef idx="0"/>
    <cs:effectRef idx="0"/>
    <cs:fontRef idx="minor">
      <a:schemeClr val="dk1">
        <a:lumMod val="75000"/>
        <a:lumOff val="25000"/>
      </a:schemeClr>
    </cs:fontRef>
    <cs:defRPr sz="900"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900"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900" kern="1200"/>
  </cs:chartArea>
  <cs:dataLabel>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000" b="1" i="0" u="none" strike="noStrike" kern="1200" baseline="0"/>
  </cs:dataLabel>
  <cs:dataLabelCallout>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000" b="1" i="0" u="none" strike="noStrike" kern="1200" baseline="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900"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900"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900"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18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900"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900" kern="1200"/>
  </cs:valueAxis>
  <cs:wall>
    <cs:lnRef idx="0"/>
    <cs:fillRef idx="0"/>
    <cs:effectRef idx="0"/>
    <cs:fontRef idx="minor">
      <a:schemeClr val="dk1"/>
    </cs:fontRef>
  </cs:wall>
</cs:chartStyle>
</file>

<file path=ppt/charts/style8.xml><?xml version="1.0" encoding="utf-8"?>
<cs:chartStyle xmlns:cs="http://schemas.microsoft.com/office/drawing/2012/chartStyle" xmlns:a="http://schemas.openxmlformats.org/drawingml/2006/main" id="253">
  <cs:axisTitle>
    <cs:lnRef idx="0"/>
    <cs:fillRef idx="0"/>
    <cs:effectRef idx="0"/>
    <cs:fontRef idx="minor">
      <a:schemeClr val="dk1">
        <a:lumMod val="75000"/>
        <a:lumOff val="25000"/>
      </a:schemeClr>
    </cs:fontRef>
    <cs:defRPr sz="900"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900"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900" kern="1200"/>
  </cs:chartArea>
  <cs:dataLabel>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000" b="1" i="0" u="none" strike="noStrike" kern="1200" baseline="0"/>
  </cs:dataLabel>
  <cs:dataLabelCallout>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000" b="1" i="0" u="none" strike="noStrike" kern="1200" baseline="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900"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900"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900"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18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900"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900" kern="1200"/>
  </cs:valueAxis>
  <cs:wall>
    <cs:lnRef idx="0"/>
    <cs:fillRef idx="0"/>
    <cs:effectRef idx="0"/>
    <cs:fontRef idx="minor">
      <a:schemeClr val="dk1"/>
    </cs:fontRef>
  </cs:wall>
</cs:chartStyle>
</file>

<file path=ppt/charts/style9.xml><?xml version="1.0" encoding="utf-8"?>
<cs:chartStyle xmlns:cs="http://schemas.microsoft.com/office/drawing/2012/chartStyle" xmlns:a="http://schemas.openxmlformats.org/drawingml/2006/main" id="253">
  <cs:axisTitle>
    <cs:lnRef idx="0"/>
    <cs:fillRef idx="0"/>
    <cs:effectRef idx="0"/>
    <cs:fontRef idx="minor">
      <a:schemeClr val="dk1">
        <a:lumMod val="75000"/>
        <a:lumOff val="25000"/>
      </a:schemeClr>
    </cs:fontRef>
    <cs:defRPr sz="900"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900"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900" kern="1200"/>
  </cs:chartArea>
  <cs:dataLabel>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000" b="1" i="0" u="none" strike="noStrike" kern="1200" baseline="0"/>
  </cs:dataLabel>
  <cs:dataLabelCallout>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000" b="1" i="0" u="none" strike="noStrike" kern="1200" baseline="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900"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900"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900"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18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900"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900" kern="1200"/>
  </cs:valueAxis>
  <cs:wall>
    <cs:lnRef idx="0"/>
    <cs:fillRef idx="0"/>
    <cs:effectRef idx="0"/>
    <cs:fontRef idx="minor">
      <a:schemeClr val="dk1"/>
    </cs:fontRef>
  </cs:wall>
</cs:chartStyle>
</file>

<file path=ppt/diagrams/colors1.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55480E8-F025-4437-9CC5-647C739C071D}" type="doc">
      <dgm:prSet loTypeId="urn:microsoft.com/office/officeart/2005/8/layout/hChevron3" loCatId="process" qsTypeId="urn:microsoft.com/office/officeart/2005/8/quickstyle/simple1" qsCatId="simple" csTypeId="urn:microsoft.com/office/officeart/2005/8/colors/accent0_1" csCatId="mainScheme" phldr="1"/>
      <dgm:spPr/>
    </dgm:pt>
    <dgm:pt modelId="{64DB97D2-03CE-4F62-A7D3-8588FECFF153}">
      <dgm:prSet phldrT="[Text]"/>
      <dgm:spPr/>
      <dgm:t>
        <a:bodyPr/>
        <a:lstStyle/>
        <a:p>
          <a:r>
            <a:rPr lang="en-US">
              <a:latin typeface="+mj-lt"/>
              <a:cs typeface="Kanit" panose="00000500000000000000" pitchFamily="50" charset="-34"/>
            </a:rPr>
            <a:t>Physician Internal Monologue</a:t>
          </a:r>
        </a:p>
      </dgm:t>
    </dgm:pt>
    <dgm:pt modelId="{1AB56B97-AE15-4F91-9733-F1BDEAD6DF13}" type="parTrans" cxnId="{99099A9D-6F06-4C25-BF5D-3EF167855ACD}">
      <dgm:prSet/>
      <dgm:spPr/>
      <dgm:t>
        <a:bodyPr/>
        <a:lstStyle/>
        <a:p>
          <a:endParaRPr lang="en-US">
            <a:latin typeface="+mj-lt"/>
            <a:cs typeface="Kanit" panose="00000500000000000000" pitchFamily="50" charset="-34"/>
          </a:endParaRPr>
        </a:p>
      </dgm:t>
    </dgm:pt>
    <dgm:pt modelId="{D5ECB5EC-7EDB-4ABA-B759-37D7EF16F98F}" type="sibTrans" cxnId="{99099A9D-6F06-4C25-BF5D-3EF167855ACD}">
      <dgm:prSet/>
      <dgm:spPr/>
      <dgm:t>
        <a:bodyPr/>
        <a:lstStyle/>
        <a:p>
          <a:endParaRPr lang="en-US">
            <a:latin typeface="+mj-lt"/>
            <a:cs typeface="Kanit" panose="00000500000000000000" pitchFamily="50" charset="-34"/>
          </a:endParaRPr>
        </a:p>
      </dgm:t>
    </dgm:pt>
    <dgm:pt modelId="{D3864C43-4ACA-464B-9081-C6D8DC2C348A}">
      <dgm:prSet phldrT="[Text]"/>
      <dgm:spPr/>
      <dgm:t>
        <a:bodyPr/>
        <a:lstStyle/>
        <a:p>
          <a:r>
            <a:rPr lang="en-US">
              <a:latin typeface="+mj-lt"/>
              <a:cs typeface="Kanit" panose="00000500000000000000" pitchFamily="50" charset="-34"/>
            </a:rPr>
            <a:t>Physician Documentation Into EHR in SOAP format (semi-structured)</a:t>
          </a:r>
        </a:p>
      </dgm:t>
    </dgm:pt>
    <dgm:pt modelId="{76794491-4577-45D3-BD03-39A438E71D66}" type="parTrans" cxnId="{4521CCDD-583B-49FA-A990-AAF5A8746EE3}">
      <dgm:prSet/>
      <dgm:spPr/>
      <dgm:t>
        <a:bodyPr/>
        <a:lstStyle/>
        <a:p>
          <a:endParaRPr lang="en-US">
            <a:latin typeface="+mj-lt"/>
            <a:cs typeface="Kanit" panose="00000500000000000000" pitchFamily="50" charset="-34"/>
          </a:endParaRPr>
        </a:p>
      </dgm:t>
    </dgm:pt>
    <dgm:pt modelId="{BF5226BC-EF72-4F48-A53E-F26D341961BD}" type="sibTrans" cxnId="{4521CCDD-583B-49FA-A990-AAF5A8746EE3}">
      <dgm:prSet/>
      <dgm:spPr/>
      <dgm:t>
        <a:bodyPr/>
        <a:lstStyle/>
        <a:p>
          <a:endParaRPr lang="en-US">
            <a:latin typeface="+mj-lt"/>
            <a:cs typeface="Kanit" panose="00000500000000000000" pitchFamily="50" charset="-34"/>
          </a:endParaRPr>
        </a:p>
      </dgm:t>
    </dgm:pt>
    <dgm:pt modelId="{EFA70F8D-FA3E-4480-AF1B-38143FC3D9C2}">
      <dgm:prSet phldrT="[Text]"/>
      <dgm:spPr/>
      <dgm:t>
        <a:bodyPr/>
        <a:lstStyle/>
        <a:p>
          <a:r>
            <a:rPr lang="en-US">
              <a:latin typeface="+mj-lt"/>
              <a:cs typeface="Kanit" panose="00000500000000000000" pitchFamily="50" charset="-34"/>
            </a:rPr>
            <a:t>EHR codification of semi-structured data into structured fields</a:t>
          </a:r>
        </a:p>
      </dgm:t>
    </dgm:pt>
    <dgm:pt modelId="{DCAB540D-B9CD-440C-93FC-07D7FFD6EBD0}" type="parTrans" cxnId="{A2EA2D63-961C-433B-ABDF-C7A4B289DF29}">
      <dgm:prSet/>
      <dgm:spPr/>
      <dgm:t>
        <a:bodyPr/>
        <a:lstStyle/>
        <a:p>
          <a:endParaRPr lang="en-US">
            <a:latin typeface="+mj-lt"/>
            <a:cs typeface="Kanit" panose="00000500000000000000" pitchFamily="50" charset="-34"/>
          </a:endParaRPr>
        </a:p>
      </dgm:t>
    </dgm:pt>
    <dgm:pt modelId="{990D75B6-643C-4F23-8716-BC4217798624}" type="sibTrans" cxnId="{A2EA2D63-961C-433B-ABDF-C7A4B289DF29}">
      <dgm:prSet/>
      <dgm:spPr/>
      <dgm:t>
        <a:bodyPr/>
        <a:lstStyle/>
        <a:p>
          <a:endParaRPr lang="en-US">
            <a:latin typeface="+mj-lt"/>
            <a:cs typeface="Kanit" panose="00000500000000000000" pitchFamily="50" charset="-34"/>
          </a:endParaRPr>
        </a:p>
      </dgm:t>
    </dgm:pt>
    <dgm:pt modelId="{5C8285D0-749F-4C63-A515-B77F0F3479AF}">
      <dgm:prSet phldrT="[Text]"/>
      <dgm:spPr/>
      <dgm:t>
        <a:bodyPr/>
        <a:lstStyle/>
        <a:p>
          <a:r>
            <a:rPr lang="en-US" dirty="0">
              <a:latin typeface="+mj-lt"/>
              <a:cs typeface="Kanit" panose="00000500000000000000" pitchFamily="50" charset="-34"/>
            </a:rPr>
            <a:t>EHR </a:t>
          </a:r>
          <a:r>
            <a:rPr lang="en-US" dirty="0" err="1">
              <a:latin typeface="+mj-lt"/>
              <a:cs typeface="Kanit" panose="00000500000000000000" pitchFamily="50" charset="-34"/>
            </a:rPr>
            <a:t>outbounding</a:t>
          </a:r>
          <a:r>
            <a:rPr lang="en-US" dirty="0">
              <a:latin typeface="+mj-lt"/>
              <a:cs typeface="Kanit" panose="00000500000000000000" pitchFamily="50" charset="-34"/>
            </a:rPr>
            <a:t> structured data to end user</a:t>
          </a:r>
        </a:p>
      </dgm:t>
    </dgm:pt>
    <dgm:pt modelId="{A65EDE0F-4A0E-4440-82E2-11B71217ED4A}" type="parTrans" cxnId="{840E2CB0-12CF-46A8-9F4A-68A14C7CBF7C}">
      <dgm:prSet/>
      <dgm:spPr/>
      <dgm:t>
        <a:bodyPr/>
        <a:lstStyle/>
        <a:p>
          <a:endParaRPr lang="en-US">
            <a:latin typeface="+mj-lt"/>
            <a:cs typeface="Kanit" panose="00000500000000000000" pitchFamily="50" charset="-34"/>
          </a:endParaRPr>
        </a:p>
      </dgm:t>
    </dgm:pt>
    <dgm:pt modelId="{1BA2D075-7961-44F1-9477-7382FD197476}" type="sibTrans" cxnId="{840E2CB0-12CF-46A8-9F4A-68A14C7CBF7C}">
      <dgm:prSet/>
      <dgm:spPr/>
      <dgm:t>
        <a:bodyPr/>
        <a:lstStyle/>
        <a:p>
          <a:endParaRPr lang="en-US">
            <a:latin typeface="+mj-lt"/>
            <a:cs typeface="Kanit" panose="00000500000000000000" pitchFamily="50" charset="-34"/>
          </a:endParaRPr>
        </a:p>
      </dgm:t>
    </dgm:pt>
    <dgm:pt modelId="{5147FD16-34B8-48D3-9F8E-7EB4A5980986}">
      <dgm:prSet phldrT="[Text]"/>
      <dgm:spPr/>
      <dgm:t>
        <a:bodyPr/>
        <a:lstStyle/>
        <a:p>
          <a:r>
            <a:rPr lang="en-US">
              <a:latin typeface="+mj-lt"/>
              <a:cs typeface="Kanit" panose="00000500000000000000" pitchFamily="50" charset="-34"/>
            </a:rPr>
            <a:t>End user wanting to abstract physician inner monologue for use case</a:t>
          </a:r>
        </a:p>
      </dgm:t>
    </dgm:pt>
    <dgm:pt modelId="{8C54AD22-E7FB-4E8C-A0F4-86C2E5810621}" type="parTrans" cxnId="{EA57FA68-82EF-44FA-A335-5065C365D974}">
      <dgm:prSet/>
      <dgm:spPr/>
      <dgm:t>
        <a:bodyPr/>
        <a:lstStyle/>
        <a:p>
          <a:endParaRPr lang="en-US">
            <a:latin typeface="+mj-lt"/>
            <a:cs typeface="Kanit" panose="00000500000000000000" pitchFamily="50" charset="-34"/>
          </a:endParaRPr>
        </a:p>
      </dgm:t>
    </dgm:pt>
    <dgm:pt modelId="{24747C75-D9F5-4924-AD01-6BBED6F801DE}" type="sibTrans" cxnId="{EA57FA68-82EF-44FA-A335-5065C365D974}">
      <dgm:prSet/>
      <dgm:spPr/>
      <dgm:t>
        <a:bodyPr/>
        <a:lstStyle/>
        <a:p>
          <a:endParaRPr lang="en-US">
            <a:latin typeface="+mj-lt"/>
            <a:cs typeface="Kanit" panose="00000500000000000000" pitchFamily="50" charset="-34"/>
          </a:endParaRPr>
        </a:p>
      </dgm:t>
    </dgm:pt>
    <dgm:pt modelId="{2BFA3F9D-3FEF-44DF-9E00-F5B1F04D5B92}" type="pres">
      <dgm:prSet presAssocID="{155480E8-F025-4437-9CC5-647C739C071D}" presName="Name0" presStyleCnt="0">
        <dgm:presLayoutVars>
          <dgm:dir/>
          <dgm:resizeHandles val="exact"/>
        </dgm:presLayoutVars>
      </dgm:prSet>
      <dgm:spPr/>
    </dgm:pt>
    <dgm:pt modelId="{E88041EF-DC6F-4B04-B5D5-50D80DF6CA65}" type="pres">
      <dgm:prSet presAssocID="{64DB97D2-03CE-4F62-A7D3-8588FECFF153}" presName="parTxOnly" presStyleLbl="node1" presStyleIdx="0" presStyleCnt="5">
        <dgm:presLayoutVars>
          <dgm:bulletEnabled val="1"/>
        </dgm:presLayoutVars>
      </dgm:prSet>
      <dgm:spPr/>
    </dgm:pt>
    <dgm:pt modelId="{4329AA0C-A123-4E9B-A51E-B7FE34FE2BC9}" type="pres">
      <dgm:prSet presAssocID="{D5ECB5EC-7EDB-4ABA-B759-37D7EF16F98F}" presName="parSpace" presStyleCnt="0"/>
      <dgm:spPr/>
    </dgm:pt>
    <dgm:pt modelId="{BE51E15B-C057-4582-BE03-62B84DB97E61}" type="pres">
      <dgm:prSet presAssocID="{D3864C43-4ACA-464B-9081-C6D8DC2C348A}" presName="parTxOnly" presStyleLbl="node1" presStyleIdx="1" presStyleCnt="5">
        <dgm:presLayoutVars>
          <dgm:bulletEnabled val="1"/>
        </dgm:presLayoutVars>
      </dgm:prSet>
      <dgm:spPr/>
    </dgm:pt>
    <dgm:pt modelId="{837CD899-2FB5-4771-AE24-221BCD96BB93}" type="pres">
      <dgm:prSet presAssocID="{BF5226BC-EF72-4F48-A53E-F26D341961BD}" presName="parSpace" presStyleCnt="0"/>
      <dgm:spPr/>
    </dgm:pt>
    <dgm:pt modelId="{7110B90A-953B-44F1-AD6D-0FD4A9492ADD}" type="pres">
      <dgm:prSet presAssocID="{EFA70F8D-FA3E-4480-AF1B-38143FC3D9C2}" presName="parTxOnly" presStyleLbl="node1" presStyleIdx="2" presStyleCnt="5" custLinFactNeighborX="-7107">
        <dgm:presLayoutVars>
          <dgm:bulletEnabled val="1"/>
        </dgm:presLayoutVars>
      </dgm:prSet>
      <dgm:spPr/>
    </dgm:pt>
    <dgm:pt modelId="{7DBF8DD2-18ED-44CE-8FD0-D14951A83784}" type="pres">
      <dgm:prSet presAssocID="{990D75B6-643C-4F23-8716-BC4217798624}" presName="parSpace" presStyleCnt="0"/>
      <dgm:spPr/>
    </dgm:pt>
    <dgm:pt modelId="{A24E0CA3-A322-48AF-B1E6-2B9E9CD6A80B}" type="pres">
      <dgm:prSet presAssocID="{5C8285D0-749F-4C63-A515-B77F0F3479AF}" presName="parTxOnly" presStyleLbl="node1" presStyleIdx="3" presStyleCnt="5">
        <dgm:presLayoutVars>
          <dgm:bulletEnabled val="1"/>
        </dgm:presLayoutVars>
      </dgm:prSet>
      <dgm:spPr/>
    </dgm:pt>
    <dgm:pt modelId="{63BDBA34-B41A-44CF-874E-AA9C62EBA72C}" type="pres">
      <dgm:prSet presAssocID="{1BA2D075-7961-44F1-9477-7382FD197476}" presName="parSpace" presStyleCnt="0"/>
      <dgm:spPr/>
    </dgm:pt>
    <dgm:pt modelId="{9148956D-C5E4-4589-9D9F-2171895CAF5C}" type="pres">
      <dgm:prSet presAssocID="{5147FD16-34B8-48D3-9F8E-7EB4A5980986}" presName="parTxOnly" presStyleLbl="node1" presStyleIdx="4" presStyleCnt="5">
        <dgm:presLayoutVars>
          <dgm:bulletEnabled val="1"/>
        </dgm:presLayoutVars>
      </dgm:prSet>
      <dgm:spPr/>
    </dgm:pt>
  </dgm:ptLst>
  <dgm:cxnLst>
    <dgm:cxn modelId="{14134A1D-84FE-4187-82FA-3440D107CBEC}" type="presOf" srcId="{5C8285D0-749F-4C63-A515-B77F0F3479AF}" destId="{A24E0CA3-A322-48AF-B1E6-2B9E9CD6A80B}" srcOrd="0" destOrd="0" presId="urn:microsoft.com/office/officeart/2005/8/layout/hChevron3"/>
    <dgm:cxn modelId="{86E04761-0EFE-4200-BDB6-DFCB60A941AB}" type="presOf" srcId="{D3864C43-4ACA-464B-9081-C6D8DC2C348A}" destId="{BE51E15B-C057-4582-BE03-62B84DB97E61}" srcOrd="0" destOrd="0" presId="urn:microsoft.com/office/officeart/2005/8/layout/hChevron3"/>
    <dgm:cxn modelId="{A2EA2D63-961C-433B-ABDF-C7A4B289DF29}" srcId="{155480E8-F025-4437-9CC5-647C739C071D}" destId="{EFA70F8D-FA3E-4480-AF1B-38143FC3D9C2}" srcOrd="2" destOrd="0" parTransId="{DCAB540D-B9CD-440C-93FC-07D7FFD6EBD0}" sibTransId="{990D75B6-643C-4F23-8716-BC4217798624}"/>
    <dgm:cxn modelId="{EA57FA68-82EF-44FA-A335-5065C365D974}" srcId="{155480E8-F025-4437-9CC5-647C739C071D}" destId="{5147FD16-34B8-48D3-9F8E-7EB4A5980986}" srcOrd="4" destOrd="0" parTransId="{8C54AD22-E7FB-4E8C-A0F4-86C2E5810621}" sibTransId="{24747C75-D9F5-4924-AD01-6BBED6F801DE}"/>
    <dgm:cxn modelId="{597DCD72-4F61-485B-9D79-4BCEFFED803B}" type="presOf" srcId="{64DB97D2-03CE-4F62-A7D3-8588FECFF153}" destId="{E88041EF-DC6F-4B04-B5D5-50D80DF6CA65}" srcOrd="0" destOrd="0" presId="urn:microsoft.com/office/officeart/2005/8/layout/hChevron3"/>
    <dgm:cxn modelId="{A162E756-F96A-46E6-BB69-B3AD1D43DFEA}" type="presOf" srcId="{EFA70F8D-FA3E-4480-AF1B-38143FC3D9C2}" destId="{7110B90A-953B-44F1-AD6D-0FD4A9492ADD}" srcOrd="0" destOrd="0" presId="urn:microsoft.com/office/officeart/2005/8/layout/hChevron3"/>
    <dgm:cxn modelId="{99099A9D-6F06-4C25-BF5D-3EF167855ACD}" srcId="{155480E8-F025-4437-9CC5-647C739C071D}" destId="{64DB97D2-03CE-4F62-A7D3-8588FECFF153}" srcOrd="0" destOrd="0" parTransId="{1AB56B97-AE15-4F91-9733-F1BDEAD6DF13}" sibTransId="{D5ECB5EC-7EDB-4ABA-B759-37D7EF16F98F}"/>
    <dgm:cxn modelId="{840E2CB0-12CF-46A8-9F4A-68A14C7CBF7C}" srcId="{155480E8-F025-4437-9CC5-647C739C071D}" destId="{5C8285D0-749F-4C63-A515-B77F0F3479AF}" srcOrd="3" destOrd="0" parTransId="{A65EDE0F-4A0E-4440-82E2-11B71217ED4A}" sibTransId="{1BA2D075-7961-44F1-9477-7382FD197476}"/>
    <dgm:cxn modelId="{4521CCDD-583B-49FA-A990-AAF5A8746EE3}" srcId="{155480E8-F025-4437-9CC5-647C739C071D}" destId="{D3864C43-4ACA-464B-9081-C6D8DC2C348A}" srcOrd="1" destOrd="0" parTransId="{76794491-4577-45D3-BD03-39A438E71D66}" sibTransId="{BF5226BC-EF72-4F48-A53E-F26D341961BD}"/>
    <dgm:cxn modelId="{0B4218E7-C797-4B81-BD64-2022EE3C107B}" type="presOf" srcId="{5147FD16-34B8-48D3-9F8E-7EB4A5980986}" destId="{9148956D-C5E4-4589-9D9F-2171895CAF5C}" srcOrd="0" destOrd="0" presId="urn:microsoft.com/office/officeart/2005/8/layout/hChevron3"/>
    <dgm:cxn modelId="{E88F66FA-270A-4E8C-BAA6-8FCA7647F70B}" type="presOf" srcId="{155480E8-F025-4437-9CC5-647C739C071D}" destId="{2BFA3F9D-3FEF-44DF-9E00-F5B1F04D5B92}" srcOrd="0" destOrd="0" presId="urn:microsoft.com/office/officeart/2005/8/layout/hChevron3"/>
    <dgm:cxn modelId="{35100005-D278-42F4-818D-F5A32DF7D72F}" type="presParOf" srcId="{2BFA3F9D-3FEF-44DF-9E00-F5B1F04D5B92}" destId="{E88041EF-DC6F-4B04-B5D5-50D80DF6CA65}" srcOrd="0" destOrd="0" presId="urn:microsoft.com/office/officeart/2005/8/layout/hChevron3"/>
    <dgm:cxn modelId="{B0EDEC3C-79D8-4883-A901-949C97680C3F}" type="presParOf" srcId="{2BFA3F9D-3FEF-44DF-9E00-F5B1F04D5B92}" destId="{4329AA0C-A123-4E9B-A51E-B7FE34FE2BC9}" srcOrd="1" destOrd="0" presId="urn:microsoft.com/office/officeart/2005/8/layout/hChevron3"/>
    <dgm:cxn modelId="{625EF941-B548-40CF-B2C0-79129D47894D}" type="presParOf" srcId="{2BFA3F9D-3FEF-44DF-9E00-F5B1F04D5B92}" destId="{BE51E15B-C057-4582-BE03-62B84DB97E61}" srcOrd="2" destOrd="0" presId="urn:microsoft.com/office/officeart/2005/8/layout/hChevron3"/>
    <dgm:cxn modelId="{1D816F81-93E3-4D98-AD90-F276EE453F52}" type="presParOf" srcId="{2BFA3F9D-3FEF-44DF-9E00-F5B1F04D5B92}" destId="{837CD899-2FB5-4771-AE24-221BCD96BB93}" srcOrd="3" destOrd="0" presId="urn:microsoft.com/office/officeart/2005/8/layout/hChevron3"/>
    <dgm:cxn modelId="{9F0ABF9F-65F7-41EA-8261-1996F751F894}" type="presParOf" srcId="{2BFA3F9D-3FEF-44DF-9E00-F5B1F04D5B92}" destId="{7110B90A-953B-44F1-AD6D-0FD4A9492ADD}" srcOrd="4" destOrd="0" presId="urn:microsoft.com/office/officeart/2005/8/layout/hChevron3"/>
    <dgm:cxn modelId="{69202BE7-1458-4392-A8F8-1DFC1C54F8F0}" type="presParOf" srcId="{2BFA3F9D-3FEF-44DF-9E00-F5B1F04D5B92}" destId="{7DBF8DD2-18ED-44CE-8FD0-D14951A83784}" srcOrd="5" destOrd="0" presId="urn:microsoft.com/office/officeart/2005/8/layout/hChevron3"/>
    <dgm:cxn modelId="{2871C27E-A94A-40EA-A2CA-E9AF4FBC5BD6}" type="presParOf" srcId="{2BFA3F9D-3FEF-44DF-9E00-F5B1F04D5B92}" destId="{A24E0CA3-A322-48AF-B1E6-2B9E9CD6A80B}" srcOrd="6" destOrd="0" presId="urn:microsoft.com/office/officeart/2005/8/layout/hChevron3"/>
    <dgm:cxn modelId="{F6590433-14B6-4C21-8282-2D5C4C5D075B}" type="presParOf" srcId="{2BFA3F9D-3FEF-44DF-9E00-F5B1F04D5B92}" destId="{63BDBA34-B41A-44CF-874E-AA9C62EBA72C}" srcOrd="7" destOrd="0" presId="urn:microsoft.com/office/officeart/2005/8/layout/hChevron3"/>
    <dgm:cxn modelId="{4A48DDA4-CDE9-4BCA-B058-99C1C2028F06}" type="presParOf" srcId="{2BFA3F9D-3FEF-44DF-9E00-F5B1F04D5B92}" destId="{9148956D-C5E4-4589-9D9F-2171895CAF5C}" srcOrd="8" destOrd="0" presId="urn:microsoft.com/office/officeart/2005/8/layout/hChevron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88041EF-DC6F-4B04-B5D5-50D80DF6CA65}">
      <dsp:nvSpPr>
        <dsp:cNvPr id="0" name=""/>
        <dsp:cNvSpPr/>
      </dsp:nvSpPr>
      <dsp:spPr>
        <a:xfrm>
          <a:off x="992" y="2298780"/>
          <a:ext cx="1934765" cy="773906"/>
        </a:xfrm>
        <a:prstGeom prst="homePlate">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26670" rIns="13335" bIns="26670" numCol="1" spcCol="1270" anchor="ctr" anchorCtr="0">
          <a:noAutofit/>
        </a:bodyPr>
        <a:lstStyle/>
        <a:p>
          <a:pPr marL="0" lvl="0" indent="0" algn="ctr" defTabSz="444500">
            <a:lnSpc>
              <a:spcPct val="90000"/>
            </a:lnSpc>
            <a:spcBef>
              <a:spcPct val="0"/>
            </a:spcBef>
            <a:spcAft>
              <a:spcPct val="35000"/>
            </a:spcAft>
            <a:buNone/>
          </a:pPr>
          <a:r>
            <a:rPr lang="en-US" sz="1000" kern="1200">
              <a:latin typeface="+mj-lt"/>
              <a:cs typeface="Kanit" panose="00000500000000000000" pitchFamily="50" charset="-34"/>
            </a:rPr>
            <a:t>Physician Internal Monologue</a:t>
          </a:r>
        </a:p>
      </dsp:txBody>
      <dsp:txXfrm>
        <a:off x="992" y="2298780"/>
        <a:ext cx="1741289" cy="773906"/>
      </dsp:txXfrm>
    </dsp:sp>
    <dsp:sp modelId="{BE51E15B-C057-4582-BE03-62B84DB97E61}">
      <dsp:nvSpPr>
        <dsp:cNvPr id="0" name=""/>
        <dsp:cNvSpPr/>
      </dsp:nvSpPr>
      <dsp:spPr>
        <a:xfrm>
          <a:off x="1548804" y="2298780"/>
          <a:ext cx="1934765" cy="773906"/>
        </a:xfrm>
        <a:prstGeom prst="chevron">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marL="0" lvl="0" indent="0" algn="ctr" defTabSz="444500">
            <a:lnSpc>
              <a:spcPct val="90000"/>
            </a:lnSpc>
            <a:spcBef>
              <a:spcPct val="0"/>
            </a:spcBef>
            <a:spcAft>
              <a:spcPct val="35000"/>
            </a:spcAft>
            <a:buNone/>
          </a:pPr>
          <a:r>
            <a:rPr lang="en-US" sz="1000" kern="1200">
              <a:latin typeface="+mj-lt"/>
              <a:cs typeface="Kanit" panose="00000500000000000000" pitchFamily="50" charset="-34"/>
            </a:rPr>
            <a:t>Physician Documentation Into EHR in SOAP format (semi-structured)</a:t>
          </a:r>
        </a:p>
      </dsp:txBody>
      <dsp:txXfrm>
        <a:off x="1935757" y="2298780"/>
        <a:ext cx="1160859" cy="773906"/>
      </dsp:txXfrm>
    </dsp:sp>
    <dsp:sp modelId="{7110B90A-953B-44F1-AD6D-0FD4A9492ADD}">
      <dsp:nvSpPr>
        <dsp:cNvPr id="0" name=""/>
        <dsp:cNvSpPr/>
      </dsp:nvSpPr>
      <dsp:spPr>
        <a:xfrm>
          <a:off x="3069116" y="2298780"/>
          <a:ext cx="1934765" cy="773906"/>
        </a:xfrm>
        <a:prstGeom prst="chevron">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marL="0" lvl="0" indent="0" algn="ctr" defTabSz="444500">
            <a:lnSpc>
              <a:spcPct val="90000"/>
            </a:lnSpc>
            <a:spcBef>
              <a:spcPct val="0"/>
            </a:spcBef>
            <a:spcAft>
              <a:spcPct val="35000"/>
            </a:spcAft>
            <a:buNone/>
          </a:pPr>
          <a:r>
            <a:rPr lang="en-US" sz="1000" kern="1200">
              <a:latin typeface="+mj-lt"/>
              <a:cs typeface="Kanit" panose="00000500000000000000" pitchFamily="50" charset="-34"/>
            </a:rPr>
            <a:t>EHR codification of semi-structured data into structured fields</a:t>
          </a:r>
        </a:p>
      </dsp:txBody>
      <dsp:txXfrm>
        <a:off x="3456069" y="2298780"/>
        <a:ext cx="1160859" cy="773906"/>
      </dsp:txXfrm>
    </dsp:sp>
    <dsp:sp modelId="{A24E0CA3-A322-48AF-B1E6-2B9E9CD6A80B}">
      <dsp:nvSpPr>
        <dsp:cNvPr id="0" name=""/>
        <dsp:cNvSpPr/>
      </dsp:nvSpPr>
      <dsp:spPr>
        <a:xfrm>
          <a:off x="4644429" y="2298780"/>
          <a:ext cx="1934765" cy="773906"/>
        </a:xfrm>
        <a:prstGeom prst="chevron">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marL="0" lvl="0" indent="0" algn="ctr" defTabSz="444500">
            <a:lnSpc>
              <a:spcPct val="90000"/>
            </a:lnSpc>
            <a:spcBef>
              <a:spcPct val="0"/>
            </a:spcBef>
            <a:spcAft>
              <a:spcPct val="35000"/>
            </a:spcAft>
            <a:buNone/>
          </a:pPr>
          <a:r>
            <a:rPr lang="en-US" sz="1000" kern="1200" dirty="0">
              <a:latin typeface="+mj-lt"/>
              <a:cs typeface="Kanit" panose="00000500000000000000" pitchFamily="50" charset="-34"/>
            </a:rPr>
            <a:t>EHR </a:t>
          </a:r>
          <a:r>
            <a:rPr lang="en-US" sz="1000" kern="1200" dirty="0" err="1">
              <a:latin typeface="+mj-lt"/>
              <a:cs typeface="Kanit" panose="00000500000000000000" pitchFamily="50" charset="-34"/>
            </a:rPr>
            <a:t>outbounding</a:t>
          </a:r>
          <a:r>
            <a:rPr lang="en-US" sz="1000" kern="1200" dirty="0">
              <a:latin typeface="+mj-lt"/>
              <a:cs typeface="Kanit" panose="00000500000000000000" pitchFamily="50" charset="-34"/>
            </a:rPr>
            <a:t> structured data to end user</a:t>
          </a:r>
        </a:p>
      </dsp:txBody>
      <dsp:txXfrm>
        <a:off x="5031382" y="2298780"/>
        <a:ext cx="1160859" cy="773906"/>
      </dsp:txXfrm>
    </dsp:sp>
    <dsp:sp modelId="{9148956D-C5E4-4589-9D9F-2171895CAF5C}">
      <dsp:nvSpPr>
        <dsp:cNvPr id="0" name=""/>
        <dsp:cNvSpPr/>
      </dsp:nvSpPr>
      <dsp:spPr>
        <a:xfrm>
          <a:off x="6192242" y="2298780"/>
          <a:ext cx="1934765" cy="773906"/>
        </a:xfrm>
        <a:prstGeom prst="chevron">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marL="0" lvl="0" indent="0" algn="ctr" defTabSz="444500">
            <a:lnSpc>
              <a:spcPct val="90000"/>
            </a:lnSpc>
            <a:spcBef>
              <a:spcPct val="0"/>
            </a:spcBef>
            <a:spcAft>
              <a:spcPct val="35000"/>
            </a:spcAft>
            <a:buNone/>
          </a:pPr>
          <a:r>
            <a:rPr lang="en-US" sz="1000" kern="1200">
              <a:latin typeface="+mj-lt"/>
              <a:cs typeface="Kanit" panose="00000500000000000000" pitchFamily="50" charset="-34"/>
            </a:rPr>
            <a:t>End user wanting to abstract physician inner monologue for use case</a:t>
          </a:r>
        </a:p>
      </dsp:txBody>
      <dsp:txXfrm>
        <a:off x="6579195" y="2298780"/>
        <a:ext cx="1160859" cy="773906"/>
      </dsp:txXfrm>
    </dsp:sp>
  </dsp:spTree>
</dsp:drawing>
</file>

<file path=ppt/diagrams/layout1.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08437</cdr:x>
      <cdr:y>0.11641</cdr:y>
    </cdr:from>
    <cdr:to>
      <cdr:x>0.42635</cdr:x>
      <cdr:y>0.88359</cdr:y>
    </cdr:to>
    <cdr:sp macro="" textlink="">
      <cdr:nvSpPr>
        <cdr:cNvPr id="2" name="Rectangle: Rounded Corners 1">
          <a:extLst xmlns:a="http://schemas.openxmlformats.org/drawingml/2006/main">
            <a:ext uri="{FF2B5EF4-FFF2-40B4-BE49-F238E27FC236}">
              <a16:creationId xmlns:a16="http://schemas.microsoft.com/office/drawing/2014/main" id="{BF38A6D8-83D9-D5BE-E896-90E769B8693A}"/>
            </a:ext>
          </a:extLst>
        </cdr:cNvPr>
        <cdr:cNvSpPr/>
      </cdr:nvSpPr>
      <cdr:spPr>
        <a:xfrm xmlns:a="http://schemas.openxmlformats.org/drawingml/2006/main">
          <a:off x="967649" y="526566"/>
          <a:ext cx="3922005" cy="3470313"/>
        </a:xfrm>
        <a:prstGeom xmlns:a="http://schemas.openxmlformats.org/drawingml/2006/main" prst="roundRect">
          <a:avLst/>
        </a:prstGeom>
        <a:noFill xmlns:a="http://schemas.openxmlformats.org/drawingml/2006/main"/>
        <a:ln xmlns:a="http://schemas.openxmlformats.org/drawingml/2006/main" w="38100"/>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ctr"/>
          <a:endParaRPr lang="en-US"/>
        </a:p>
      </cdr:txBody>
    </cdr:sp>
  </cdr:relSizeAnchor>
  <cdr:relSizeAnchor xmlns:cdr="http://schemas.openxmlformats.org/drawingml/2006/chartDrawing">
    <cdr:from>
      <cdr:x>0.4384</cdr:x>
      <cdr:y>0.13974</cdr:y>
    </cdr:from>
    <cdr:to>
      <cdr:x>0.97701</cdr:x>
      <cdr:y>0.90693</cdr:y>
    </cdr:to>
    <cdr:sp macro="" textlink="">
      <cdr:nvSpPr>
        <cdr:cNvPr id="3" name="Rectangle: Rounded Corners 2">
          <a:extLst xmlns:a="http://schemas.openxmlformats.org/drawingml/2006/main">
            <a:ext uri="{FF2B5EF4-FFF2-40B4-BE49-F238E27FC236}">
              <a16:creationId xmlns:a16="http://schemas.microsoft.com/office/drawing/2014/main" id="{0E022D65-DBE6-A3E6-6FCF-67CDAA74411C}"/>
            </a:ext>
          </a:extLst>
        </cdr:cNvPr>
        <cdr:cNvSpPr/>
      </cdr:nvSpPr>
      <cdr:spPr>
        <a:xfrm xmlns:a="http://schemas.openxmlformats.org/drawingml/2006/main">
          <a:off x="5027795" y="632128"/>
          <a:ext cx="6177118" cy="3470343"/>
        </a:xfrm>
        <a:prstGeom xmlns:a="http://schemas.openxmlformats.org/drawingml/2006/main" prst="roundRect">
          <a:avLst/>
        </a:prstGeom>
        <a:noFill xmlns:a="http://schemas.openxmlformats.org/drawingml/2006/main"/>
        <a:ln xmlns:a="http://schemas.openxmlformats.org/drawingml/2006/main" w="38100">
          <a:solidFill>
            <a:srgbClr val="FFC0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ctr"/>
          <a:endParaRPr lang="en-US"/>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AC4A782-D808-4010-8FAF-4CD1C8FC2A24}" type="datetimeFigureOut">
              <a:rPr lang="en-US" smtClean="0"/>
              <a:t>11/5/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3E440DB-E8E2-4808-9611-B338C6EBCA07}" type="slidenum">
              <a:rPr lang="en-US" smtClean="0"/>
              <a:t>‹#›</a:t>
            </a:fld>
            <a:endParaRPr lang="en-US"/>
          </a:p>
        </p:txBody>
      </p:sp>
    </p:spTree>
    <p:extLst>
      <p:ext uri="{BB962C8B-B14F-4D97-AF65-F5344CB8AC3E}">
        <p14:creationId xmlns:p14="http://schemas.microsoft.com/office/powerpoint/2010/main" val="36353003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The Social Prescription – From Patient Record to Community Insight</a:t>
            </a:r>
            <a:endParaRPr lang="en-US" dirty="0"/>
          </a:p>
          <a:p>
            <a:r>
              <a:rPr lang="en-US" dirty="0"/>
              <a:t>This vital lecture explores the next frontier in personalized healthcare: bridging clinical data with </a:t>
            </a:r>
            <a:r>
              <a:rPr lang="en-US" b="1" dirty="0"/>
              <a:t>Social Determinants of Health (SDOH)</a:t>
            </a:r>
            <a:r>
              <a:rPr lang="en-US" dirty="0"/>
              <a:t> to achieve true health equity. Dr. Pinho will detail the limitations of current electronic medical records in capturing nuanced social data and illustrate how a </a:t>
            </a:r>
            <a:r>
              <a:rPr lang="en-US" b="1" dirty="0"/>
              <a:t>data-driven, clinically led, and tech-enabled</a:t>
            </a:r>
            <a:r>
              <a:rPr lang="en-US" dirty="0"/>
              <a:t> approach is necessary to meet evolving patient complexity. The session will emphasize the immense value of </a:t>
            </a:r>
            <a:r>
              <a:rPr lang="en-US" b="1" dirty="0"/>
              <a:t>unstructured patient data</a:t>
            </a:r>
            <a:r>
              <a:rPr lang="en-US" dirty="0"/>
              <a:t>—reading </a:t>
            </a:r>
            <a:r>
              <a:rPr lang="en-US" i="1" dirty="0"/>
              <a:t>between the lines</a:t>
            </a:r>
            <a:r>
              <a:rPr lang="en-US" dirty="0"/>
              <a:t> of the clinical notes—to identify social differences in care delivery and empower effective community intervention. Attendees will leave with a greater understanding of data standards, interoperability, and the technological solutions required to write the next generation of social prescriptions.</a:t>
            </a:r>
          </a:p>
          <a:p>
            <a:endParaRPr lang="en-US" dirty="0"/>
          </a:p>
        </p:txBody>
      </p:sp>
      <p:sp>
        <p:nvSpPr>
          <p:cNvPr id="4" name="Slide Number Placeholder 3"/>
          <p:cNvSpPr>
            <a:spLocks noGrp="1"/>
          </p:cNvSpPr>
          <p:nvPr>
            <p:ph type="sldNum" sz="quarter" idx="5"/>
          </p:nvPr>
        </p:nvSpPr>
        <p:spPr/>
        <p:txBody>
          <a:bodyPr/>
          <a:lstStyle/>
          <a:p>
            <a:fld id="{93E440DB-E8E2-4808-9611-B338C6EBCA07}" type="slidenum">
              <a:rPr lang="en-US" smtClean="0"/>
              <a:t>1</a:t>
            </a:fld>
            <a:endParaRPr lang="en-US"/>
          </a:p>
        </p:txBody>
      </p:sp>
    </p:spTree>
    <p:extLst>
      <p:ext uri="{BB962C8B-B14F-4D97-AF65-F5344CB8AC3E}">
        <p14:creationId xmlns:p14="http://schemas.microsoft.com/office/powerpoint/2010/main" val="320776726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E1FC4D-ACEE-EEE5-BDAF-0E997A846FD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22AFE34-9F6F-8757-B10C-89B5BE2F062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85D396-25F9-8373-14FC-56648E00A28A}"/>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Completeness is about ensuring that all necessary adjectives are present and syntax is about ensuring that the content can be used to tell a story to someone else.  </a:t>
            </a:r>
          </a:p>
          <a:p>
            <a:endParaRPr lang="en-US" dirty="0"/>
          </a:p>
        </p:txBody>
      </p:sp>
      <p:sp>
        <p:nvSpPr>
          <p:cNvPr id="4" name="Slide Number Placeholder 3">
            <a:extLst>
              <a:ext uri="{FF2B5EF4-FFF2-40B4-BE49-F238E27FC236}">
                <a16:creationId xmlns:a16="http://schemas.microsoft.com/office/drawing/2014/main" id="{5600F5D6-26BB-D0BC-AB79-86A765394EF9}"/>
              </a:ext>
            </a:extLst>
          </p:cNvPr>
          <p:cNvSpPr>
            <a:spLocks noGrp="1"/>
          </p:cNvSpPr>
          <p:nvPr>
            <p:ph type="sldNum" sz="quarter" idx="5"/>
          </p:nvPr>
        </p:nvSpPr>
        <p:spPr/>
        <p:txBody>
          <a:bodyPr/>
          <a:lstStyle/>
          <a:p>
            <a:fld id="{6DA6A915-C6CF-ED4F-9024-26F3FE8E0A46}" type="slidenum">
              <a:rPr lang="en-US" smtClean="0"/>
              <a:t>21</a:t>
            </a:fld>
            <a:endParaRPr lang="en-US" dirty="0"/>
          </a:p>
        </p:txBody>
      </p:sp>
    </p:spTree>
    <p:extLst>
      <p:ext uri="{BB962C8B-B14F-4D97-AF65-F5344CB8AC3E}">
        <p14:creationId xmlns:p14="http://schemas.microsoft.com/office/powerpoint/2010/main" val="330423997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7CF1B6-49CE-2C33-C1E1-77683255CF6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7407D2D-0C2D-1659-D429-8640B8DD99F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B4B2029-D5DB-957C-FB88-80E68B72DFD4}"/>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0708E813-702A-B132-246F-732BF227AA83}"/>
              </a:ext>
            </a:extLst>
          </p:cNvPr>
          <p:cNvSpPr>
            <a:spLocks noGrp="1"/>
          </p:cNvSpPr>
          <p:nvPr>
            <p:ph type="sldNum" sz="quarter" idx="5"/>
          </p:nvPr>
        </p:nvSpPr>
        <p:spPr/>
        <p:txBody>
          <a:bodyPr/>
          <a:lstStyle/>
          <a:p>
            <a:fld id="{6DA6A915-C6CF-ED4F-9024-26F3FE8E0A46}" type="slidenum">
              <a:rPr lang="en-US" smtClean="0"/>
              <a:t>22</a:t>
            </a:fld>
            <a:endParaRPr lang="en-US" dirty="0"/>
          </a:p>
        </p:txBody>
      </p:sp>
    </p:spTree>
    <p:extLst>
      <p:ext uri="{BB962C8B-B14F-4D97-AF65-F5344CB8AC3E}">
        <p14:creationId xmlns:p14="http://schemas.microsoft.com/office/powerpoint/2010/main" val="193186847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mpleteness is about ensuring that all necessary adjectives are present and syntax is about ensuring that the content can be used to tell a story to someone else.  </a:t>
            </a:r>
          </a:p>
          <a:p>
            <a:endParaRPr lang="en-US" dirty="0"/>
          </a:p>
          <a:p>
            <a:pPr lvl="1"/>
            <a:r>
              <a:rPr lang="en-US" b="1" dirty="0">
                <a:solidFill>
                  <a:schemeClr val="bg2"/>
                </a:solidFill>
                <a:latin typeface="+mj-lt"/>
                <a:cs typeface="Kanit ExtraLight" panose="00000300000000000000" pitchFamily="50" charset="-34"/>
              </a:rPr>
              <a:t>Government set - Schema – sentence structure</a:t>
            </a:r>
          </a:p>
          <a:p>
            <a:pPr lvl="1"/>
            <a:r>
              <a:rPr lang="en-US" b="1" dirty="0" err="1">
                <a:solidFill>
                  <a:schemeClr val="bg2"/>
                </a:solidFill>
                <a:latin typeface="+mj-lt"/>
                <a:cs typeface="Kanit ExtraLight" panose="00000300000000000000" pitchFamily="50" charset="-34"/>
              </a:rPr>
              <a:t>Schematron</a:t>
            </a:r>
            <a:r>
              <a:rPr lang="en-US" b="1" dirty="0">
                <a:solidFill>
                  <a:schemeClr val="bg2"/>
                </a:solidFill>
                <a:latin typeface="+mj-lt"/>
                <a:cs typeface="Kanit ExtraLight" panose="00000300000000000000" pitchFamily="50" charset="-34"/>
              </a:rPr>
              <a:t> – vocabulary</a:t>
            </a:r>
          </a:p>
          <a:p>
            <a:endParaRPr lang="en-US" dirty="0"/>
          </a:p>
        </p:txBody>
      </p:sp>
      <p:sp>
        <p:nvSpPr>
          <p:cNvPr id="4" name="Slide Number Placeholder 3"/>
          <p:cNvSpPr>
            <a:spLocks noGrp="1"/>
          </p:cNvSpPr>
          <p:nvPr>
            <p:ph type="sldNum" sz="quarter" idx="5"/>
          </p:nvPr>
        </p:nvSpPr>
        <p:spPr/>
        <p:txBody>
          <a:bodyPr/>
          <a:lstStyle/>
          <a:p>
            <a:fld id="{FAA65556-160D-2042-997D-ECB3D829B4DC}" type="slidenum">
              <a:rPr lang="en-US" smtClean="0"/>
              <a:t>24</a:t>
            </a:fld>
            <a:endParaRPr lang="en-US"/>
          </a:p>
        </p:txBody>
      </p:sp>
    </p:spTree>
    <p:extLst>
      <p:ext uri="{BB962C8B-B14F-4D97-AF65-F5344CB8AC3E}">
        <p14:creationId xmlns:p14="http://schemas.microsoft.com/office/powerpoint/2010/main" val="47965583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ther or unknown is really 7% in California – in clinical data it was 45% - over 6 times as much</a:t>
            </a:r>
          </a:p>
          <a:p>
            <a:r>
              <a:rPr lang="en-US" dirty="0"/>
              <a:t>Documented Caucasians comprised 60.2%, clinical data captured 70% of demographic data on Caucasians</a:t>
            </a:r>
          </a:p>
          <a:p>
            <a:r>
              <a:rPr lang="en-US" dirty="0"/>
              <a:t>AA – 9% - 58% captured</a:t>
            </a:r>
          </a:p>
          <a:p>
            <a:r>
              <a:rPr lang="en-US" dirty="0"/>
              <a:t>Asians – 24% - 37.5% captured</a:t>
            </a:r>
          </a:p>
        </p:txBody>
      </p:sp>
      <p:sp>
        <p:nvSpPr>
          <p:cNvPr id="4" name="Slide Number Placeholder 3"/>
          <p:cNvSpPr>
            <a:spLocks noGrp="1"/>
          </p:cNvSpPr>
          <p:nvPr>
            <p:ph type="sldNum" sz="quarter" idx="5"/>
          </p:nvPr>
        </p:nvSpPr>
        <p:spPr/>
        <p:txBody>
          <a:bodyPr/>
          <a:lstStyle/>
          <a:p>
            <a:fld id="{6DA6A915-C6CF-ED4F-9024-26F3FE8E0A46}" type="slidenum">
              <a:rPr lang="en-US" smtClean="0"/>
              <a:t>26</a:t>
            </a:fld>
            <a:endParaRPr lang="en-US" dirty="0"/>
          </a:p>
        </p:txBody>
      </p:sp>
    </p:spTree>
    <p:extLst>
      <p:ext uri="{BB962C8B-B14F-4D97-AF65-F5344CB8AC3E}">
        <p14:creationId xmlns:p14="http://schemas.microsoft.com/office/powerpoint/2010/main" val="120072537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087AFB-76AA-7BDA-6F49-078A60E925F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9E3D538-C033-21F0-2AE3-0C19E208F81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E3F1C91-DE47-CB93-3F74-96F98BF81962}"/>
              </a:ext>
            </a:extLst>
          </p:cNvPr>
          <p:cNvSpPr>
            <a:spLocks noGrp="1"/>
          </p:cNvSpPr>
          <p:nvPr>
            <p:ph type="body" idx="1"/>
          </p:nvPr>
        </p:nvSpPr>
        <p:spPr/>
        <p:txBody>
          <a:bodyPr/>
          <a:lstStyle/>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dirty="0"/>
              <a:t>In this analysis, we evaluated data quality across several different demographic variables like race, ethnicity, language, sex, age, and religion</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dirty="0"/>
              <a:t>We evaluated a sample of 40,242 continuous care documents and measured outcomes like completeness, </a:t>
            </a:r>
            <a:r>
              <a:rPr lang="en-US" dirty="0" err="1"/>
              <a:t>ie</a:t>
            </a:r>
            <a:r>
              <a:rPr lang="en-US" dirty="0"/>
              <a:t> if a document was filled out completely, and syntax, </a:t>
            </a:r>
            <a:r>
              <a:rPr lang="en-US" dirty="0" err="1"/>
              <a:t>ie</a:t>
            </a:r>
            <a:r>
              <a:rPr lang="en-US" dirty="0"/>
              <a:t> if a document was filled out correctly</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dirty="0"/>
              <a:t>We can start by discussing racial variation in data quality</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endParaRPr lang="en-US" dirty="0"/>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endParaRPr lang="en-US" dirty="0"/>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dirty="0"/>
              <a:t>Paulo</a:t>
            </a:r>
          </a:p>
          <a:p>
            <a:endParaRPr lang="en-US" dirty="0"/>
          </a:p>
        </p:txBody>
      </p:sp>
      <p:sp>
        <p:nvSpPr>
          <p:cNvPr id="4" name="Slide Number Placeholder 3">
            <a:extLst>
              <a:ext uri="{FF2B5EF4-FFF2-40B4-BE49-F238E27FC236}">
                <a16:creationId xmlns:a16="http://schemas.microsoft.com/office/drawing/2014/main" id="{0C738CCC-7687-77B9-E15E-6C5855F556E4}"/>
              </a:ext>
            </a:extLst>
          </p:cNvPr>
          <p:cNvSpPr>
            <a:spLocks noGrp="1"/>
          </p:cNvSpPr>
          <p:nvPr>
            <p:ph type="sldNum" sz="quarter" idx="5"/>
          </p:nvPr>
        </p:nvSpPr>
        <p:spPr/>
        <p:txBody>
          <a:bodyPr/>
          <a:lstStyle/>
          <a:p>
            <a:fld id="{6DA6A915-C6CF-ED4F-9024-26F3FE8E0A46}" type="slidenum">
              <a:rPr lang="en-US" smtClean="0"/>
              <a:t>27</a:t>
            </a:fld>
            <a:endParaRPr lang="en-US" dirty="0"/>
          </a:p>
        </p:txBody>
      </p:sp>
    </p:spTree>
    <p:extLst>
      <p:ext uri="{BB962C8B-B14F-4D97-AF65-F5344CB8AC3E}">
        <p14:creationId xmlns:p14="http://schemas.microsoft.com/office/powerpoint/2010/main" val="12366922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69C237-8D67-4E58-B9E5-C0EAB14543E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37C5DBD-BD20-7859-9F1B-488F1C3D4A1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382365E-AED4-F62D-6287-41491E679B77}"/>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4A53150D-8C33-7E66-F98E-C4E74E9AA29B}"/>
              </a:ext>
            </a:extLst>
          </p:cNvPr>
          <p:cNvSpPr>
            <a:spLocks noGrp="1"/>
          </p:cNvSpPr>
          <p:nvPr>
            <p:ph type="sldNum" sz="quarter" idx="5"/>
          </p:nvPr>
        </p:nvSpPr>
        <p:spPr/>
        <p:txBody>
          <a:bodyPr/>
          <a:lstStyle/>
          <a:p>
            <a:fld id="{6DA6A915-C6CF-ED4F-9024-26F3FE8E0A46}" type="slidenum">
              <a:rPr lang="en-US" smtClean="0"/>
              <a:t>28</a:t>
            </a:fld>
            <a:endParaRPr lang="en-US" dirty="0"/>
          </a:p>
        </p:txBody>
      </p:sp>
    </p:spTree>
    <p:extLst>
      <p:ext uri="{BB962C8B-B14F-4D97-AF65-F5344CB8AC3E}">
        <p14:creationId xmlns:p14="http://schemas.microsoft.com/office/powerpoint/2010/main" val="400155978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73B520-EF18-E314-F9DB-313F68E3694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55B3988-5612-386A-6BE9-D6E55F34CC8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DE62BE0-2C91-FE23-0466-77B0E52C6E8C}"/>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0A512FD5-504E-D8C8-C47C-547A15893AD7}"/>
              </a:ext>
            </a:extLst>
          </p:cNvPr>
          <p:cNvSpPr>
            <a:spLocks noGrp="1"/>
          </p:cNvSpPr>
          <p:nvPr>
            <p:ph type="sldNum" sz="quarter" idx="5"/>
          </p:nvPr>
        </p:nvSpPr>
        <p:spPr/>
        <p:txBody>
          <a:bodyPr/>
          <a:lstStyle/>
          <a:p>
            <a:fld id="{6DA6A915-C6CF-ED4F-9024-26F3FE8E0A46}" type="slidenum">
              <a:rPr lang="en-US" smtClean="0"/>
              <a:t>29</a:t>
            </a:fld>
            <a:endParaRPr lang="en-US" dirty="0"/>
          </a:p>
        </p:txBody>
      </p:sp>
    </p:spTree>
    <p:extLst>
      <p:ext uri="{BB962C8B-B14F-4D97-AF65-F5344CB8AC3E}">
        <p14:creationId xmlns:p14="http://schemas.microsoft.com/office/powerpoint/2010/main" val="133887632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AA65556-160D-2042-997D-ECB3D829B4DC}" type="slidenum">
              <a:rPr lang="en-US" smtClean="0"/>
              <a:t>31</a:t>
            </a:fld>
            <a:endParaRPr lang="en-US"/>
          </a:p>
        </p:txBody>
      </p:sp>
    </p:spTree>
    <p:extLst>
      <p:ext uri="{BB962C8B-B14F-4D97-AF65-F5344CB8AC3E}">
        <p14:creationId xmlns:p14="http://schemas.microsoft.com/office/powerpoint/2010/main" val="7673725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Other and unknown tended to have smaller document siz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Blacks &gt; Whites &gt; Asians – Blacks tended to have more episodic, yet complex care experiences</a:t>
            </a:r>
          </a:p>
        </p:txBody>
      </p:sp>
      <p:sp>
        <p:nvSpPr>
          <p:cNvPr id="4" name="Slide Number Placeholder 3"/>
          <p:cNvSpPr>
            <a:spLocks noGrp="1"/>
          </p:cNvSpPr>
          <p:nvPr>
            <p:ph type="sldNum" sz="quarter" idx="5"/>
          </p:nvPr>
        </p:nvSpPr>
        <p:spPr/>
        <p:txBody>
          <a:bodyPr/>
          <a:lstStyle/>
          <a:p>
            <a:fld id="{FAA65556-160D-2042-997D-ECB3D829B4DC}" type="slidenum">
              <a:rPr lang="en-US" smtClean="0"/>
              <a:t>32</a:t>
            </a:fld>
            <a:endParaRPr lang="en-US"/>
          </a:p>
        </p:txBody>
      </p:sp>
    </p:spTree>
    <p:extLst>
      <p:ext uri="{BB962C8B-B14F-4D97-AF65-F5344CB8AC3E}">
        <p14:creationId xmlns:p14="http://schemas.microsoft.com/office/powerpoint/2010/main" val="63909867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A65556-160D-2042-997D-ECB3D829B4D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661279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3C8FADF-A397-45E0-87AB-9F12788340A6}" type="slidenum">
              <a:rPr lang="en-US" smtClean="0"/>
              <a:t>3</a:t>
            </a:fld>
            <a:endParaRPr lang="en-US"/>
          </a:p>
        </p:txBody>
      </p:sp>
    </p:spTree>
    <p:extLst>
      <p:ext uri="{BB962C8B-B14F-4D97-AF65-F5344CB8AC3E}">
        <p14:creationId xmlns:p14="http://schemas.microsoft.com/office/powerpoint/2010/main" val="208489073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Other and Unknown tended to have poorer quality when indexed to document siz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Whites had better document quality &gt; Blacks &gt; Asians by document size</a:t>
            </a:r>
          </a:p>
        </p:txBody>
      </p:sp>
      <p:sp>
        <p:nvSpPr>
          <p:cNvPr id="4" name="Slide Number Placeholder 3"/>
          <p:cNvSpPr>
            <a:spLocks noGrp="1"/>
          </p:cNvSpPr>
          <p:nvPr>
            <p:ph type="sldNum" sz="quarter" idx="5"/>
          </p:nvPr>
        </p:nvSpPr>
        <p:spPr/>
        <p:txBody>
          <a:bodyPr/>
          <a:lstStyle/>
          <a:p>
            <a:fld id="{FAA65556-160D-2042-997D-ECB3D829B4DC}" type="slidenum">
              <a:rPr lang="en-US" smtClean="0"/>
              <a:t>34</a:t>
            </a:fld>
            <a:endParaRPr lang="en-US"/>
          </a:p>
        </p:txBody>
      </p:sp>
    </p:spTree>
    <p:extLst>
      <p:ext uri="{BB962C8B-B14F-4D97-AF65-F5344CB8AC3E}">
        <p14:creationId xmlns:p14="http://schemas.microsoft.com/office/powerpoint/2010/main" val="161142157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FBFC12-1C60-9F05-4351-1A0E5E50440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94FEEE7-7A4A-F463-99D8-55CDD8F8282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AE65FA7-6A9A-C1A2-F22C-C7E311D5E590}"/>
              </a:ext>
            </a:extLst>
          </p:cNvPr>
          <p:cNvSpPr>
            <a:spLocks noGrp="1"/>
          </p:cNvSpPr>
          <p:nvPr>
            <p:ph type="body" idx="1"/>
          </p:nvPr>
        </p:nvSpPr>
        <p:spPr/>
        <p:txBody>
          <a:bodyPr/>
          <a:lstStyle/>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dirty="0"/>
              <a:t>Again, we see a similar trend when evaluating violations/size by ethnicity</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dirty="0"/>
              <a:t>The expected relationships where the Not Hispanic/Latino group has the lowest violations, followed by DTS (decline to specify). We believe this makes sense because providers that took the time to record ethnicity as Decline to Specify would likely to be more careful with data quality throughout the file</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dirty="0"/>
              <a:t>It is interesting to note Unknown had much higher completeness violations/size than Hispanic/Latino, which may be explained it being a catch-all category for convenience/expediency that is used in charts of lower quality</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dirty="0"/>
              <a:t>However, these variations are altered when indexing by count, as DTS has the highest completeness violations by count (AKA opportunities for correctness), while variation in syntax opportunities by count was less notable though still statistically significant (likely due to our large sample size of 40,000 charts)</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dirty="0"/>
              <a:t>Again, we believe this is the case because violations by count may be more a measure that is more notably affected by clinical complexity, which complicates the ability to draw insights from this metric</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endParaRPr lang="en-US" dirty="0"/>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dirty="0"/>
              <a:t>Owais</a:t>
            </a:r>
          </a:p>
        </p:txBody>
      </p:sp>
      <p:sp>
        <p:nvSpPr>
          <p:cNvPr id="4" name="Slide Number Placeholder 3">
            <a:extLst>
              <a:ext uri="{FF2B5EF4-FFF2-40B4-BE49-F238E27FC236}">
                <a16:creationId xmlns:a16="http://schemas.microsoft.com/office/drawing/2014/main" id="{DD412C02-FF2D-2805-6D8B-3249A4AC9529}"/>
              </a:ext>
            </a:extLst>
          </p:cNvPr>
          <p:cNvSpPr>
            <a:spLocks noGrp="1"/>
          </p:cNvSpPr>
          <p:nvPr>
            <p:ph type="sldNum" sz="quarter" idx="5"/>
          </p:nvPr>
        </p:nvSpPr>
        <p:spPr/>
        <p:txBody>
          <a:bodyPr/>
          <a:lstStyle/>
          <a:p>
            <a:fld id="{FAA65556-160D-2042-997D-ECB3D829B4DC}" type="slidenum">
              <a:rPr lang="en-US" smtClean="0"/>
              <a:t>35</a:t>
            </a:fld>
            <a:endParaRPr lang="en-US"/>
          </a:p>
        </p:txBody>
      </p:sp>
    </p:spTree>
    <p:extLst>
      <p:ext uri="{BB962C8B-B14F-4D97-AF65-F5344CB8AC3E}">
        <p14:creationId xmlns:p14="http://schemas.microsoft.com/office/powerpoint/2010/main" val="219356820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23D6E4-8F20-DEBC-D290-D5420D0BFBC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C3AB522-3944-9742-410E-5B67F69025E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6F66D19-0433-75CD-9055-515729881B24}"/>
              </a:ext>
            </a:extLst>
          </p:cNvPr>
          <p:cNvSpPr>
            <a:spLocks noGrp="1"/>
          </p:cNvSpPr>
          <p:nvPr>
            <p:ph type="body" idx="1"/>
          </p:nvPr>
        </p:nvSpPr>
        <p:spPr/>
        <p:txBody>
          <a:bodyPr/>
          <a:lstStyle/>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dirty="0"/>
              <a:t>Interestingly, the same trend for violations/size and violations/count that we saw in race and in ethnicity held when stratifying by language</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dirty="0"/>
              <a:t>Here, English had the lowest violations when indexed by size followed by Spanish and then followed by other, which fits in with expectations based on availability of translation services and when given Spanish is the second-most spoken language in the US</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dirty="0"/>
              <a:t>However, these expected trends were not found when indexing by count, and the data here was a bit more scattered</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endParaRPr lang="en-US" dirty="0"/>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dirty="0"/>
              <a:t>Owais</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endParaRPr lang="en-US" dirty="0"/>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dirty="0"/>
              <a:t>Owais</a:t>
            </a:r>
          </a:p>
        </p:txBody>
      </p:sp>
      <p:sp>
        <p:nvSpPr>
          <p:cNvPr id="4" name="Slide Number Placeholder 3">
            <a:extLst>
              <a:ext uri="{FF2B5EF4-FFF2-40B4-BE49-F238E27FC236}">
                <a16:creationId xmlns:a16="http://schemas.microsoft.com/office/drawing/2014/main" id="{1C645D27-62C6-FB56-809E-DDA8B631B08C}"/>
              </a:ext>
            </a:extLst>
          </p:cNvPr>
          <p:cNvSpPr>
            <a:spLocks noGrp="1"/>
          </p:cNvSpPr>
          <p:nvPr>
            <p:ph type="sldNum" sz="quarter" idx="5"/>
          </p:nvPr>
        </p:nvSpPr>
        <p:spPr/>
        <p:txBody>
          <a:bodyPr/>
          <a:lstStyle/>
          <a:p>
            <a:fld id="{FAA65556-160D-2042-997D-ECB3D829B4DC}" type="slidenum">
              <a:rPr lang="en-US" smtClean="0"/>
              <a:t>36</a:t>
            </a:fld>
            <a:endParaRPr lang="en-US"/>
          </a:p>
        </p:txBody>
      </p:sp>
    </p:spTree>
    <p:extLst>
      <p:ext uri="{BB962C8B-B14F-4D97-AF65-F5344CB8AC3E}">
        <p14:creationId xmlns:p14="http://schemas.microsoft.com/office/powerpoint/2010/main" val="335128730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16809B-AA5A-3B18-64A0-EA92284CA16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5FE5C32-54FF-9626-DD0D-E29CC17034C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52F657B-E5EC-3CDF-CDA1-5095EA4C4507}"/>
              </a:ext>
            </a:extLst>
          </p:cNvPr>
          <p:cNvSpPr>
            <a:spLocks noGrp="1"/>
          </p:cNvSpPr>
          <p:nvPr>
            <p:ph type="body" idx="1"/>
          </p:nvPr>
        </p:nvSpPr>
        <p:spPr/>
        <p:txBody>
          <a:bodyPr/>
          <a:lstStyle/>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dirty="0"/>
              <a:t>Finally, we found age-based variation in data quality</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dirty="0"/>
              <a:t>This was quite interesting: one may expect a bimodal distribution with more violations in the pediatric cohort and more violations in the geriatric cohort. </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dirty="0"/>
              <a:t>We found that while the pediatric cohort did indeed have more violations per size than other categories, the geriatric cohort actually had the fewest violations per size</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dirty="0"/>
              <a:t>This was a surprising result to us as both geriatric and pediatric patients can present with several complexities, but it appears that clinicians may be adept at managing geriatric patients’ data quality and ensuring that their charts are effectively documented</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endParaRPr lang="en-US" dirty="0"/>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dirty="0"/>
              <a:t>Owais</a:t>
            </a:r>
          </a:p>
        </p:txBody>
      </p:sp>
      <p:sp>
        <p:nvSpPr>
          <p:cNvPr id="4" name="Slide Number Placeholder 3">
            <a:extLst>
              <a:ext uri="{FF2B5EF4-FFF2-40B4-BE49-F238E27FC236}">
                <a16:creationId xmlns:a16="http://schemas.microsoft.com/office/drawing/2014/main" id="{33CBAA0C-27F5-9EE4-E28D-5DDDC3AA6724}"/>
              </a:ext>
            </a:extLst>
          </p:cNvPr>
          <p:cNvSpPr>
            <a:spLocks noGrp="1"/>
          </p:cNvSpPr>
          <p:nvPr>
            <p:ph type="sldNum" sz="quarter" idx="5"/>
          </p:nvPr>
        </p:nvSpPr>
        <p:spPr/>
        <p:txBody>
          <a:bodyPr/>
          <a:lstStyle/>
          <a:p>
            <a:fld id="{FAA65556-160D-2042-997D-ECB3D829B4DC}" type="slidenum">
              <a:rPr lang="en-US" smtClean="0"/>
              <a:t>37</a:t>
            </a:fld>
            <a:endParaRPr lang="en-US"/>
          </a:p>
        </p:txBody>
      </p:sp>
    </p:spTree>
    <p:extLst>
      <p:ext uri="{BB962C8B-B14F-4D97-AF65-F5344CB8AC3E}">
        <p14:creationId xmlns:p14="http://schemas.microsoft.com/office/powerpoint/2010/main" val="20730042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DB2D10-0C60-6455-3D53-E02AB5EEED8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E3AD139-1CC3-E2B4-9FDF-04030A668C6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B53D3A6-A017-F889-C490-3E821E797E58}"/>
              </a:ext>
            </a:extLst>
          </p:cNvPr>
          <p:cNvSpPr>
            <a:spLocks noGrp="1"/>
          </p:cNvSpPr>
          <p:nvPr>
            <p:ph type="body" idx="1"/>
          </p:nvPr>
        </p:nvSpPr>
        <p:spPr/>
        <p:txBody>
          <a:bodyPr/>
          <a:lstStyle/>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dirty="0"/>
              <a:t>Regarding sex-based variation, while there were statistically significant differences in violations when indexed both by size and by count, we would like to call out that the actual differences were in the decimal points</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dirty="0"/>
              <a:t>We believe that while we attained statistical significance due to a sample size of 40,000 records, this finding may not be of clinical significance because the numerical differences in completeness violations and syntax violations when indexing by size and count are so small</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dirty="0"/>
              <a:t>This is a refreshing change in pace from the disparities that were highlighted in data quality when stratifying by race, ethnicity, and language</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endParaRPr lang="en-US" dirty="0"/>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dirty="0"/>
              <a:t>Owais</a:t>
            </a:r>
          </a:p>
        </p:txBody>
      </p:sp>
      <p:sp>
        <p:nvSpPr>
          <p:cNvPr id="4" name="Slide Number Placeholder 3">
            <a:extLst>
              <a:ext uri="{FF2B5EF4-FFF2-40B4-BE49-F238E27FC236}">
                <a16:creationId xmlns:a16="http://schemas.microsoft.com/office/drawing/2014/main" id="{CCF2CAE5-D20C-7043-B8DE-1D542FD7CD24}"/>
              </a:ext>
            </a:extLst>
          </p:cNvPr>
          <p:cNvSpPr>
            <a:spLocks noGrp="1"/>
          </p:cNvSpPr>
          <p:nvPr>
            <p:ph type="sldNum" sz="quarter" idx="5"/>
          </p:nvPr>
        </p:nvSpPr>
        <p:spPr/>
        <p:txBody>
          <a:bodyPr/>
          <a:lstStyle/>
          <a:p>
            <a:fld id="{FAA65556-160D-2042-997D-ECB3D829B4DC}" type="slidenum">
              <a:rPr lang="en-US" smtClean="0"/>
              <a:t>38</a:t>
            </a:fld>
            <a:endParaRPr lang="en-US"/>
          </a:p>
        </p:txBody>
      </p:sp>
    </p:spTree>
    <p:extLst>
      <p:ext uri="{BB962C8B-B14F-4D97-AF65-F5344CB8AC3E}">
        <p14:creationId xmlns:p14="http://schemas.microsoft.com/office/powerpoint/2010/main" val="328508589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285DFA-6B27-36E7-F82A-82A8DD84B24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A30E442-16FB-E995-8789-D383BE152D6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F7C80BE-8BC7-1DB1-0C6C-266F0AB4A02F}"/>
              </a:ext>
            </a:extLst>
          </p:cNvPr>
          <p:cNvSpPr>
            <a:spLocks noGrp="1"/>
          </p:cNvSpPr>
          <p:nvPr>
            <p:ph type="body" idx="1"/>
          </p:nvPr>
        </p:nvSpPr>
        <p:spPr/>
        <p:txBody>
          <a:bodyPr/>
          <a:lstStyle/>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dirty="0"/>
              <a:t>The sample sizes for our analysis of religion were smaller, and while results were statistically significant, the results were a bit more random in that </a:t>
            </a:r>
          </a:p>
          <a:p>
            <a:pPr marL="685800" marR="0" lvl="1" indent="-228600" algn="l" defTabSz="914400" rtl="0" eaLnBrk="1" fontAlgn="auto" latinLnBrk="0" hangingPunct="1">
              <a:lnSpc>
                <a:spcPct val="100000"/>
              </a:lnSpc>
              <a:spcBef>
                <a:spcPts val="0"/>
              </a:spcBef>
              <a:spcAft>
                <a:spcPts val="0"/>
              </a:spcAft>
              <a:buClrTx/>
              <a:buSzTx/>
              <a:buFontTx/>
              <a:buAutoNum type="arabicPeriod"/>
              <a:tabLst/>
              <a:defRPr/>
            </a:pPr>
            <a:r>
              <a:rPr lang="en-US" dirty="0"/>
              <a:t>Unknown had the highest completeness violations per size</a:t>
            </a:r>
          </a:p>
          <a:p>
            <a:pPr marL="685800" marR="0" lvl="1" indent="-228600" algn="l" defTabSz="914400" rtl="0" eaLnBrk="1" fontAlgn="auto" latinLnBrk="0" hangingPunct="1">
              <a:lnSpc>
                <a:spcPct val="100000"/>
              </a:lnSpc>
              <a:spcBef>
                <a:spcPts val="0"/>
              </a:spcBef>
              <a:spcAft>
                <a:spcPts val="0"/>
              </a:spcAft>
              <a:buClrTx/>
              <a:buSzTx/>
              <a:buFontTx/>
              <a:buAutoNum type="arabicPeriod"/>
              <a:tabLst/>
              <a:defRPr/>
            </a:pPr>
            <a:r>
              <a:rPr lang="en-US" dirty="0"/>
              <a:t>Irreligious had the highest syntax violations per size</a:t>
            </a:r>
          </a:p>
          <a:p>
            <a:pPr marL="685800" marR="0" lvl="1" indent="-228600" algn="l" defTabSz="914400" rtl="0" eaLnBrk="1" fontAlgn="auto" latinLnBrk="0" hangingPunct="1">
              <a:lnSpc>
                <a:spcPct val="100000"/>
              </a:lnSpc>
              <a:spcBef>
                <a:spcPts val="0"/>
              </a:spcBef>
              <a:spcAft>
                <a:spcPts val="0"/>
              </a:spcAft>
              <a:buClrTx/>
              <a:buSzTx/>
              <a:buFontTx/>
              <a:buAutoNum type="arabicPeriod"/>
              <a:tabLst/>
              <a:defRPr/>
            </a:pPr>
            <a:r>
              <a:rPr lang="en-US" dirty="0"/>
              <a:t>Unknown had the highest completeness violations per count</a:t>
            </a:r>
          </a:p>
          <a:p>
            <a:pPr marL="685800" marR="0" lvl="1" indent="-228600" algn="l" defTabSz="914400" rtl="0" eaLnBrk="1" fontAlgn="auto" latinLnBrk="0" hangingPunct="1">
              <a:lnSpc>
                <a:spcPct val="100000"/>
              </a:lnSpc>
              <a:spcBef>
                <a:spcPts val="0"/>
              </a:spcBef>
              <a:spcAft>
                <a:spcPts val="0"/>
              </a:spcAft>
              <a:buClrTx/>
              <a:buSzTx/>
              <a:buFontTx/>
              <a:buAutoNum type="arabicPeriod"/>
              <a:tabLst/>
              <a:defRPr/>
            </a:pPr>
            <a:r>
              <a:rPr lang="en-US" dirty="0"/>
              <a:t>Christians had the highest syntax violations per count</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dirty="0"/>
              <a:t>It is important to note that 38,000 out of 40,000 records were listed as unknown, so this </a:t>
            </a:r>
            <a:r>
              <a:rPr lang="en-US" dirty="0" err="1"/>
              <a:t>subanalysis</a:t>
            </a:r>
            <a:r>
              <a:rPr lang="en-US" dirty="0"/>
              <a:t> has its limitations</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endParaRPr lang="en-US" dirty="0"/>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endParaRPr lang="en-US" dirty="0"/>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dirty="0"/>
              <a:t>Owais</a:t>
            </a:r>
          </a:p>
        </p:txBody>
      </p:sp>
      <p:sp>
        <p:nvSpPr>
          <p:cNvPr id="4" name="Slide Number Placeholder 3">
            <a:extLst>
              <a:ext uri="{FF2B5EF4-FFF2-40B4-BE49-F238E27FC236}">
                <a16:creationId xmlns:a16="http://schemas.microsoft.com/office/drawing/2014/main" id="{5791AC14-0BCB-33E0-4F4F-FE721E541004}"/>
              </a:ext>
            </a:extLst>
          </p:cNvPr>
          <p:cNvSpPr>
            <a:spLocks noGrp="1"/>
          </p:cNvSpPr>
          <p:nvPr>
            <p:ph type="sldNum" sz="quarter" idx="5"/>
          </p:nvPr>
        </p:nvSpPr>
        <p:spPr/>
        <p:txBody>
          <a:bodyPr/>
          <a:lstStyle/>
          <a:p>
            <a:fld id="{FAA65556-160D-2042-997D-ECB3D829B4DC}" type="slidenum">
              <a:rPr lang="en-US" smtClean="0"/>
              <a:t>39</a:t>
            </a:fld>
            <a:endParaRPr lang="en-US"/>
          </a:p>
        </p:txBody>
      </p:sp>
    </p:spTree>
    <p:extLst>
      <p:ext uri="{BB962C8B-B14F-4D97-AF65-F5344CB8AC3E}">
        <p14:creationId xmlns:p14="http://schemas.microsoft.com/office/powerpoint/2010/main" val="108674589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6BFAA5-AB33-15D6-A340-77076BE59FC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0D428BD-11F0-0DB1-5227-F03EF2D6C17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82BE130-EAFF-B62B-4DFF-3D4428FC3866}"/>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D1226394-9A72-9E87-8502-80D75D9985E8}"/>
              </a:ext>
            </a:extLst>
          </p:cNvPr>
          <p:cNvSpPr>
            <a:spLocks noGrp="1"/>
          </p:cNvSpPr>
          <p:nvPr>
            <p:ph type="sldNum" sz="quarter" idx="5"/>
          </p:nvPr>
        </p:nvSpPr>
        <p:spPr/>
        <p:txBody>
          <a:bodyPr/>
          <a:lstStyle/>
          <a:p>
            <a:fld id="{FAA65556-160D-2042-997D-ECB3D829B4DC}" type="slidenum">
              <a:rPr lang="en-US" smtClean="0"/>
              <a:t>40</a:t>
            </a:fld>
            <a:endParaRPr lang="en-US"/>
          </a:p>
        </p:txBody>
      </p:sp>
    </p:spTree>
    <p:extLst>
      <p:ext uri="{BB962C8B-B14F-4D97-AF65-F5344CB8AC3E}">
        <p14:creationId xmlns:p14="http://schemas.microsoft.com/office/powerpoint/2010/main" val="90139065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6856F3-DB34-EF2C-6960-1CED0BA44E4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B87BCB7-6091-21C0-C232-639507F2A80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AA57D84-7F87-2E86-4923-E9BB55FE53E8}"/>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E017974B-7711-7949-A216-43DF1E2625D1}"/>
              </a:ext>
            </a:extLst>
          </p:cNvPr>
          <p:cNvSpPr>
            <a:spLocks noGrp="1"/>
          </p:cNvSpPr>
          <p:nvPr>
            <p:ph type="sldNum" sz="quarter" idx="5"/>
          </p:nvPr>
        </p:nvSpPr>
        <p:spPr/>
        <p:txBody>
          <a:bodyPr/>
          <a:lstStyle/>
          <a:p>
            <a:fld id="{23C8FADF-A397-45E0-87AB-9F12788340A6}" type="slidenum">
              <a:rPr lang="en-US" smtClean="0"/>
              <a:t>4</a:t>
            </a:fld>
            <a:endParaRPr lang="en-US"/>
          </a:p>
        </p:txBody>
      </p:sp>
    </p:spTree>
    <p:extLst>
      <p:ext uri="{BB962C8B-B14F-4D97-AF65-F5344CB8AC3E}">
        <p14:creationId xmlns:p14="http://schemas.microsoft.com/office/powerpoint/2010/main" val="15645209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3E440DB-E8E2-4808-9611-B338C6EBCA07}" type="slidenum">
              <a:rPr lang="en-US" smtClean="0"/>
              <a:t>5</a:t>
            </a:fld>
            <a:endParaRPr lang="en-US"/>
          </a:p>
        </p:txBody>
      </p:sp>
    </p:spTree>
    <p:extLst>
      <p:ext uri="{BB962C8B-B14F-4D97-AF65-F5344CB8AC3E}">
        <p14:creationId xmlns:p14="http://schemas.microsoft.com/office/powerpoint/2010/main" val="17572866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y work with the ACORD standards organization – premised on clinical data standards</a:t>
            </a:r>
          </a:p>
          <a:p>
            <a:r>
              <a:rPr lang="en-US" dirty="0"/>
              <a:t>Abandon using EHR because it doesn’t look like the PDF.  </a:t>
            </a:r>
          </a:p>
          <a:p>
            <a:endParaRPr lang="en-US" dirty="0"/>
          </a:p>
          <a:p>
            <a:r>
              <a:rPr lang="en-US" dirty="0"/>
              <a:t>This doesn’t take into consideration complexities like medical synonyms and </a:t>
            </a:r>
            <a:r>
              <a:rPr lang="en-US" dirty="0" err="1"/>
              <a:t>polysems</a:t>
            </a:r>
            <a:r>
              <a:rPr lang="en-US" dirty="0"/>
              <a:t> as well as the fact that in some cases there is local representation of concepts</a:t>
            </a:r>
          </a:p>
        </p:txBody>
      </p:sp>
      <p:sp>
        <p:nvSpPr>
          <p:cNvPr id="4" name="Slide Number Placeholder 3"/>
          <p:cNvSpPr>
            <a:spLocks noGrp="1"/>
          </p:cNvSpPr>
          <p:nvPr>
            <p:ph type="sldNum" sz="quarter" idx="5"/>
          </p:nvPr>
        </p:nvSpPr>
        <p:spPr/>
        <p:txBody>
          <a:bodyPr/>
          <a:lstStyle/>
          <a:p>
            <a:fld id="{93E440DB-E8E2-4808-9611-B338C6EBCA07}" type="slidenum">
              <a:rPr lang="en-US" smtClean="0"/>
              <a:t>6</a:t>
            </a:fld>
            <a:endParaRPr lang="en-US"/>
          </a:p>
        </p:txBody>
      </p:sp>
    </p:spTree>
    <p:extLst>
      <p:ext uri="{BB962C8B-B14F-4D97-AF65-F5344CB8AC3E}">
        <p14:creationId xmlns:p14="http://schemas.microsoft.com/office/powerpoint/2010/main" val="33018555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34D4D9-3176-C0E2-8949-69A22C495A8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7EA503E-6364-E6FD-077F-E756B69553E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0F44CE3-973A-F62F-7586-37FAF6DA73AF}"/>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87044407-C03C-ACD4-432F-37235D95ED3B}"/>
              </a:ext>
            </a:extLst>
          </p:cNvPr>
          <p:cNvSpPr>
            <a:spLocks noGrp="1"/>
          </p:cNvSpPr>
          <p:nvPr>
            <p:ph type="sldNum" sz="quarter" idx="5"/>
          </p:nvPr>
        </p:nvSpPr>
        <p:spPr/>
        <p:txBody>
          <a:bodyPr/>
          <a:lstStyle/>
          <a:p>
            <a:fld id="{FAA65556-160D-2042-997D-ECB3D829B4DC}" type="slidenum">
              <a:rPr lang="en-US" smtClean="0"/>
              <a:t>13</a:t>
            </a:fld>
            <a:endParaRPr lang="en-US"/>
          </a:p>
        </p:txBody>
      </p:sp>
    </p:spTree>
    <p:extLst>
      <p:ext uri="{BB962C8B-B14F-4D97-AF65-F5344CB8AC3E}">
        <p14:creationId xmlns:p14="http://schemas.microsoft.com/office/powerpoint/2010/main" val="137361800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3 of all black males in Newark never reach their 30</a:t>
            </a:r>
            <a:r>
              <a:rPr lang="en-US" baseline="30000" dirty="0"/>
              <a:t>th</a:t>
            </a:r>
            <a:r>
              <a:rPr lang="en-US" dirty="0"/>
              <a:t> birthday</a:t>
            </a:r>
          </a:p>
          <a:p>
            <a:r>
              <a:rPr lang="en-US" dirty="0"/>
              <a:t>July 4, 1996</a:t>
            </a:r>
          </a:p>
        </p:txBody>
      </p:sp>
      <p:sp>
        <p:nvSpPr>
          <p:cNvPr id="4" name="Slide Number Placeholder 3"/>
          <p:cNvSpPr>
            <a:spLocks noGrp="1"/>
          </p:cNvSpPr>
          <p:nvPr>
            <p:ph type="sldNum" sz="quarter" idx="5"/>
          </p:nvPr>
        </p:nvSpPr>
        <p:spPr/>
        <p:txBody>
          <a:bodyPr/>
          <a:lstStyle/>
          <a:p>
            <a:fld id="{F63EDF22-FD53-4DF1-BF73-22BFDA54227A}" type="slidenum">
              <a:rPr lang="en-US" smtClean="0"/>
              <a:t>14</a:t>
            </a:fld>
            <a:endParaRPr lang="en-US"/>
          </a:p>
        </p:txBody>
      </p:sp>
    </p:spTree>
    <p:extLst>
      <p:ext uri="{BB962C8B-B14F-4D97-AF65-F5344CB8AC3E}">
        <p14:creationId xmlns:p14="http://schemas.microsoft.com/office/powerpoint/2010/main" val="229161125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r>
              <a:rPr lang="en-US" dirty="0">
                <a:cs typeface="Kanit ExtraLight" panose="00000300000000000000" pitchFamily="50" charset="-34"/>
              </a:rPr>
              <a:t>Lack of consistent primary care in these communities – continuity impacts data capture</a:t>
            </a:r>
          </a:p>
          <a:p>
            <a:pPr lvl="1"/>
            <a:r>
              <a:rPr lang="en-US" dirty="0">
                <a:cs typeface="Kanit ExtraLight" panose="00000300000000000000" pitchFamily="50" charset="-34"/>
              </a:rPr>
              <a:t>Less medical literacy and less literacy and numeracy in general; perhaps non-English speaking</a:t>
            </a:r>
          </a:p>
          <a:p>
            <a:pPr lvl="1"/>
            <a:r>
              <a:rPr lang="en-US" dirty="0">
                <a:cs typeface="Kanit ExtraLight" panose="00000300000000000000" pitchFamily="50" charset="-34"/>
              </a:rPr>
              <a:t>Care settings which are more urgent and episodic (ER, urgent care)  </a:t>
            </a:r>
          </a:p>
          <a:p>
            <a:endParaRPr lang="en-US" dirty="0"/>
          </a:p>
        </p:txBody>
      </p:sp>
      <p:sp>
        <p:nvSpPr>
          <p:cNvPr id="4" name="Slide Number Placeholder 3"/>
          <p:cNvSpPr>
            <a:spLocks noGrp="1"/>
          </p:cNvSpPr>
          <p:nvPr>
            <p:ph type="sldNum" sz="quarter" idx="5"/>
          </p:nvPr>
        </p:nvSpPr>
        <p:spPr/>
        <p:txBody>
          <a:bodyPr/>
          <a:lstStyle/>
          <a:p>
            <a:fld id="{FAA65556-160D-2042-997D-ECB3D829B4DC}" type="slidenum">
              <a:rPr lang="en-US" smtClean="0"/>
              <a:t>16</a:t>
            </a:fld>
            <a:endParaRPr lang="en-US"/>
          </a:p>
        </p:txBody>
      </p:sp>
    </p:spTree>
    <p:extLst>
      <p:ext uri="{BB962C8B-B14F-4D97-AF65-F5344CB8AC3E}">
        <p14:creationId xmlns:p14="http://schemas.microsoft.com/office/powerpoint/2010/main" val="282172679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eyond SDOH, I was concerned about data capture in general with certain populations, when I looked at incidence and prevalence of feature documentation, it was more poorly documented,  And so if we’re going to build ML models, LLM, etc., we need to make sure we are not overfitting models to populations with robust data collection and further marginalizing the marginalized. </a:t>
            </a:r>
          </a:p>
        </p:txBody>
      </p:sp>
      <p:sp>
        <p:nvSpPr>
          <p:cNvPr id="4" name="Slide Number Placeholder 3"/>
          <p:cNvSpPr>
            <a:spLocks noGrp="1"/>
          </p:cNvSpPr>
          <p:nvPr>
            <p:ph type="sldNum" sz="quarter" idx="5"/>
          </p:nvPr>
        </p:nvSpPr>
        <p:spPr/>
        <p:txBody>
          <a:bodyPr/>
          <a:lstStyle/>
          <a:p>
            <a:fld id="{6DA6A915-C6CF-ED4F-9024-26F3FE8E0A46}" type="slidenum">
              <a:rPr lang="en-US" smtClean="0"/>
              <a:t>20</a:t>
            </a:fld>
            <a:endParaRPr lang="en-US" dirty="0"/>
          </a:p>
        </p:txBody>
      </p:sp>
    </p:spTree>
    <p:extLst>
      <p:ext uri="{BB962C8B-B14F-4D97-AF65-F5344CB8AC3E}">
        <p14:creationId xmlns:p14="http://schemas.microsoft.com/office/powerpoint/2010/main" val="183181503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11.xml"/><Relationship Id="rId13" Type="http://schemas.openxmlformats.org/officeDocument/2006/relationships/oleObject" Target="../embeddings/oleObject1.bin"/><Relationship Id="rId3" Type="http://schemas.openxmlformats.org/officeDocument/2006/relationships/tags" Target="../tags/tag6.xml"/><Relationship Id="rId7" Type="http://schemas.openxmlformats.org/officeDocument/2006/relationships/tags" Target="../tags/tag10.xml"/><Relationship Id="rId12"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tags" Target="../tags/tag9.xml"/><Relationship Id="rId11" Type="http://schemas.openxmlformats.org/officeDocument/2006/relationships/tags" Target="../tags/tag14.xml"/><Relationship Id="rId5" Type="http://schemas.openxmlformats.org/officeDocument/2006/relationships/tags" Target="../tags/tag8.xml"/><Relationship Id="rId10" Type="http://schemas.openxmlformats.org/officeDocument/2006/relationships/tags" Target="../tags/tag13.xml"/><Relationship Id="rId4" Type="http://schemas.openxmlformats.org/officeDocument/2006/relationships/tags" Target="../tags/tag7.xml"/><Relationship Id="rId9" Type="http://schemas.openxmlformats.org/officeDocument/2006/relationships/tags" Target="../tags/tag12.xml"/><Relationship Id="rId14" Type="http://schemas.openxmlformats.org/officeDocument/2006/relationships/image" Target="../media/image3.emf"/></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14400" y="2125980"/>
            <a:ext cx="10363200" cy="409358"/>
          </a:xfrm>
          <a:prstGeom prst="rect">
            <a:avLst/>
          </a:prstGeom>
        </p:spPr>
        <p:txBody>
          <a:bodyPr wrap="square" lIns="0" tIns="0" rIns="0" bIns="0">
            <a:spAutoFit/>
          </a:bodyPr>
          <a:lstStyle>
            <a:lvl1pPr>
              <a:defRPr sz="2660" b="0" i="0">
                <a:solidFill>
                  <a:schemeClr val="bg1"/>
                </a:solidFill>
                <a:latin typeface="+mj-lt"/>
                <a:cs typeface="Source Serif Pro"/>
              </a:defRPr>
            </a:lvl1pPr>
          </a:lstStyle>
          <a:p>
            <a:endParaRPr dirty="0"/>
          </a:p>
        </p:txBody>
      </p:sp>
      <p:sp>
        <p:nvSpPr>
          <p:cNvPr id="3" name="Holder 3"/>
          <p:cNvSpPr>
            <a:spLocks noGrp="1"/>
          </p:cNvSpPr>
          <p:nvPr>
            <p:ph type="subTitle" idx="4"/>
          </p:nvPr>
        </p:nvSpPr>
        <p:spPr>
          <a:xfrm>
            <a:off x="1828800" y="3840480"/>
            <a:ext cx="8534400" cy="276999"/>
          </a:xfrm>
          <a:prstGeom prst="rect">
            <a:avLst/>
          </a:prstGeom>
        </p:spPr>
        <p:txBody>
          <a:bodyPr wrap="square" lIns="0" tIns="0" rIns="0" bIns="0">
            <a:spAutoFit/>
          </a:bodyPr>
          <a:lstStyle>
            <a:lvl1pPr>
              <a:defRPr/>
            </a:lvl1pPr>
          </a:lstStyle>
          <a:p>
            <a:endParaRPr dirty="0"/>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5/2025</a:t>
            </a:fld>
            <a:endParaRPr lang="en-US" dirty="0"/>
          </a:p>
        </p:txBody>
      </p:sp>
      <p:sp>
        <p:nvSpPr>
          <p:cNvPr id="6" name="Holder 6"/>
          <p:cNvSpPr>
            <a:spLocks noGrp="1"/>
          </p:cNvSpPr>
          <p:nvPr>
            <p:ph type="sldNum" sz="quarter" idx="7"/>
          </p:nvPr>
        </p:nvSpPr>
        <p:spPr>
          <a:xfrm>
            <a:off x="11785601" y="6370735"/>
            <a:ext cx="184385" cy="196529"/>
          </a:xfrm>
        </p:spPr>
        <p:txBody>
          <a:bodyPr lIns="0" tIns="0" rIns="0" bIns="0"/>
          <a:lstStyle>
            <a:lvl1pPr>
              <a:defRPr sz="1277" b="0" i="0">
                <a:solidFill>
                  <a:schemeClr val="bg1"/>
                </a:solidFill>
                <a:latin typeface="Source Serif Pro"/>
                <a:cs typeface="Source Serif Pro"/>
              </a:defRPr>
            </a:lvl1pPr>
          </a:lstStyle>
          <a:p>
            <a:pPr marL="13513">
              <a:spcBef>
                <a:spcPts val="160"/>
              </a:spcBef>
            </a:pPr>
            <a:fld id="{81D60167-4931-47E6-BA6A-407CBD079E47}" type="slidenum">
              <a:rPr lang="en-US" spc="-74" smtClean="0"/>
              <a:pPr marL="13513">
                <a:spcBef>
                  <a:spcPts val="160"/>
                </a:spcBef>
              </a:pPr>
              <a:t>‹#›</a:t>
            </a:fld>
            <a:endParaRPr lang="en-US" spc="-74" dirty="0"/>
          </a:p>
        </p:txBody>
      </p:sp>
    </p:spTree>
    <p:extLst>
      <p:ext uri="{BB962C8B-B14F-4D97-AF65-F5344CB8AC3E}">
        <p14:creationId xmlns:p14="http://schemas.microsoft.com/office/powerpoint/2010/main" val="18346954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CADAF6-E53D-5BE4-30FA-995840B12736}"/>
              </a:ext>
            </a:extLst>
          </p:cNvPr>
          <p:cNvSpPr>
            <a:spLocks noGrp="1"/>
          </p:cNvSpPr>
          <p:nvPr>
            <p:ph type="ctrTitle" hasCustomPrompt="1"/>
          </p:nvPr>
        </p:nvSpPr>
        <p:spPr>
          <a:xfrm>
            <a:off x="1524000" y="1130829"/>
            <a:ext cx="9144000" cy="1381125"/>
          </a:xfrm>
        </p:spPr>
        <p:txBody>
          <a:bodyPr anchor="b">
            <a:normAutofit/>
          </a:bodyPr>
          <a:lstStyle>
            <a:lvl1pPr algn="ctr">
              <a:defRPr sz="4000">
                <a:solidFill>
                  <a:schemeClr val="accent4">
                    <a:lumMod val="75000"/>
                  </a:schemeClr>
                </a:solidFill>
              </a:defRPr>
            </a:lvl1pPr>
          </a:lstStyle>
          <a:p>
            <a:r>
              <a:rPr lang="en-US" dirty="0"/>
              <a:t>Presentation Title</a:t>
            </a:r>
          </a:p>
        </p:txBody>
      </p:sp>
      <p:sp>
        <p:nvSpPr>
          <p:cNvPr id="3" name="Subtitle 2">
            <a:extLst>
              <a:ext uri="{FF2B5EF4-FFF2-40B4-BE49-F238E27FC236}">
                <a16:creationId xmlns:a16="http://schemas.microsoft.com/office/drawing/2014/main" id="{E91E0AA5-C181-221B-5473-5561603B86CB}"/>
              </a:ext>
            </a:extLst>
          </p:cNvPr>
          <p:cNvSpPr>
            <a:spLocks noGrp="1"/>
          </p:cNvSpPr>
          <p:nvPr>
            <p:ph type="subTitle" idx="1" hasCustomPrompt="1"/>
          </p:nvPr>
        </p:nvSpPr>
        <p:spPr>
          <a:xfrm>
            <a:off x="1524000" y="2853892"/>
            <a:ext cx="9144000" cy="2434800"/>
          </a:xfrm>
        </p:spPr>
        <p:txBody>
          <a:bodyPr/>
          <a:lstStyle>
            <a:lvl1pPr marL="0" indent="0" algn="ctr">
              <a:buNone/>
              <a:defRPr sz="2400">
                <a:solidFill>
                  <a:schemeClr val="tx1">
                    <a:lumMod val="65000"/>
                    <a:lumOff val="35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ESSION CODE (IF APPLICABLE)</a:t>
            </a:r>
          </a:p>
          <a:p>
            <a:r>
              <a:rPr lang="en-US" dirty="0"/>
              <a:t>FACULTY NAME, DESIGNATION(S)</a:t>
            </a:r>
          </a:p>
          <a:p>
            <a:r>
              <a:rPr lang="en-US" dirty="0"/>
              <a:t>FACULTY </a:t>
            </a:r>
            <a:r>
              <a:rPr lang="en-US" b="0" i="0" u="none" strike="noStrike" dirty="0">
                <a:solidFill>
                  <a:srgbClr val="000000"/>
                </a:solidFill>
                <a:effectLst/>
                <a:latin typeface="Arial" panose="020B0604020202020204" pitchFamily="34" charset="0"/>
              </a:rPr>
              <a:t>INSTITUTION</a:t>
            </a:r>
            <a:r>
              <a:rPr lang="en-US" dirty="0"/>
              <a:t> (IF APPLICABLE)</a:t>
            </a:r>
          </a:p>
          <a:p>
            <a:r>
              <a:rPr lang="en-US" dirty="0"/>
              <a:t>CITY, STATE</a:t>
            </a:r>
          </a:p>
          <a:p>
            <a:r>
              <a:rPr lang="en-US" dirty="0"/>
              <a:t>X HANDLE (IF </a:t>
            </a:r>
            <a:r>
              <a:rPr lang="en-US" b="0" i="0" u="none" strike="noStrike" dirty="0">
                <a:solidFill>
                  <a:srgbClr val="000000"/>
                </a:solidFill>
                <a:effectLst/>
                <a:latin typeface="Arial" panose="020B0604020202020204" pitchFamily="34" charset="0"/>
              </a:rPr>
              <a:t>APPLICABLE</a:t>
            </a:r>
            <a:r>
              <a:rPr lang="en-US" dirty="0"/>
              <a:t>)</a:t>
            </a:r>
          </a:p>
        </p:txBody>
      </p:sp>
    </p:spTree>
    <p:extLst>
      <p:ext uri="{BB962C8B-B14F-4D97-AF65-F5344CB8AC3E}">
        <p14:creationId xmlns:p14="http://schemas.microsoft.com/office/powerpoint/2010/main" val="16768111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14400" y="2125980"/>
            <a:ext cx="10363200" cy="409358"/>
          </a:xfrm>
          <a:prstGeom prst="rect">
            <a:avLst/>
          </a:prstGeom>
        </p:spPr>
        <p:txBody>
          <a:bodyPr wrap="square" lIns="0" tIns="0" rIns="0" bIns="0">
            <a:spAutoFit/>
          </a:bodyPr>
          <a:lstStyle>
            <a:lvl1pPr>
              <a:defRPr sz="2660" b="0" i="0">
                <a:solidFill>
                  <a:schemeClr val="bg1"/>
                </a:solidFill>
                <a:latin typeface="+mj-lt"/>
                <a:cs typeface="Source Serif Pro"/>
              </a:defRPr>
            </a:lvl1pPr>
          </a:lstStyle>
          <a:p>
            <a:endParaRPr dirty="0"/>
          </a:p>
        </p:txBody>
      </p:sp>
      <p:sp>
        <p:nvSpPr>
          <p:cNvPr id="3" name="Holder 3"/>
          <p:cNvSpPr>
            <a:spLocks noGrp="1"/>
          </p:cNvSpPr>
          <p:nvPr>
            <p:ph type="subTitle" idx="4"/>
          </p:nvPr>
        </p:nvSpPr>
        <p:spPr>
          <a:xfrm>
            <a:off x="1828800" y="3840480"/>
            <a:ext cx="8534400" cy="276999"/>
          </a:xfrm>
          <a:prstGeom prst="rect">
            <a:avLst/>
          </a:prstGeom>
        </p:spPr>
        <p:txBody>
          <a:bodyPr wrap="square" lIns="0" tIns="0" rIns="0" bIns="0">
            <a:spAutoFit/>
          </a:bodyPr>
          <a:lstStyle>
            <a:lvl1pPr>
              <a:defRPr/>
            </a:lvl1pPr>
          </a:lstStyle>
          <a:p>
            <a:endParaRPr dirty="0"/>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5/2025</a:t>
            </a:fld>
            <a:endParaRPr lang="en-US" dirty="0"/>
          </a:p>
        </p:txBody>
      </p:sp>
      <p:sp>
        <p:nvSpPr>
          <p:cNvPr id="6" name="Holder 6"/>
          <p:cNvSpPr>
            <a:spLocks noGrp="1"/>
          </p:cNvSpPr>
          <p:nvPr>
            <p:ph type="sldNum" sz="quarter" idx="7"/>
          </p:nvPr>
        </p:nvSpPr>
        <p:spPr>
          <a:xfrm>
            <a:off x="11785601" y="6370735"/>
            <a:ext cx="184385" cy="196529"/>
          </a:xfrm>
        </p:spPr>
        <p:txBody>
          <a:bodyPr lIns="0" tIns="0" rIns="0" bIns="0"/>
          <a:lstStyle>
            <a:lvl1pPr>
              <a:defRPr sz="1277" b="0" i="0">
                <a:solidFill>
                  <a:schemeClr val="bg1"/>
                </a:solidFill>
                <a:latin typeface="Source Serif Pro"/>
                <a:cs typeface="Source Serif Pro"/>
              </a:defRPr>
            </a:lvl1pPr>
          </a:lstStyle>
          <a:p>
            <a:pPr marL="13513">
              <a:spcBef>
                <a:spcPts val="160"/>
              </a:spcBef>
            </a:pPr>
            <a:fld id="{81D60167-4931-47E6-BA6A-407CBD079E47}" type="slidenum">
              <a:rPr lang="en-US" spc="-74" smtClean="0"/>
              <a:pPr marL="13513">
                <a:spcBef>
                  <a:spcPts val="160"/>
                </a:spcBef>
              </a:pPr>
              <a:t>‹#›</a:t>
            </a:fld>
            <a:endParaRPr lang="en-US" spc="-74" dirty="0"/>
          </a:p>
        </p:txBody>
      </p:sp>
    </p:spTree>
    <p:extLst>
      <p:ext uri="{BB962C8B-B14F-4D97-AF65-F5344CB8AC3E}">
        <p14:creationId xmlns:p14="http://schemas.microsoft.com/office/powerpoint/2010/main" val="69580793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894939" y="2456542"/>
            <a:ext cx="9262157" cy="409343"/>
          </a:xfrm>
        </p:spPr>
        <p:txBody>
          <a:bodyPr lIns="0" tIns="0" rIns="0" bIns="0"/>
          <a:lstStyle>
            <a:lvl1pPr>
              <a:defRPr sz="2660" b="0" i="0">
                <a:solidFill>
                  <a:schemeClr val="bg1"/>
                </a:solidFill>
                <a:latin typeface="Source Serif Pro"/>
                <a:cs typeface="Source Serif Pro"/>
              </a:defRPr>
            </a:lvl1pPr>
          </a:lstStyle>
          <a:p>
            <a:endParaRPr dirty="0"/>
          </a:p>
        </p:txBody>
      </p:sp>
      <p:sp>
        <p:nvSpPr>
          <p:cNvPr id="3" name="Holder 3"/>
          <p:cNvSpPr>
            <a:spLocks noGrp="1"/>
          </p:cNvSpPr>
          <p:nvPr>
            <p:ph type="body" idx="1"/>
          </p:nvPr>
        </p:nvSpPr>
        <p:spPr/>
        <p:txBody>
          <a:bodyPr lIns="0" tIns="0" rIns="0" bIns="0"/>
          <a:lstStyle>
            <a:lvl1pPr>
              <a:defRPr/>
            </a:lvl1pPr>
          </a:lstStyle>
          <a:p>
            <a:endParaRPr dirty="0"/>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dirty="0"/>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5/2025</a:t>
            </a:fld>
            <a:endParaRPr lang="en-US" dirty="0"/>
          </a:p>
        </p:txBody>
      </p:sp>
      <p:sp>
        <p:nvSpPr>
          <p:cNvPr id="6" name="Holder 6"/>
          <p:cNvSpPr>
            <a:spLocks noGrp="1"/>
          </p:cNvSpPr>
          <p:nvPr>
            <p:ph type="sldNum" sz="quarter" idx="7"/>
          </p:nvPr>
        </p:nvSpPr>
        <p:spPr>
          <a:xfrm>
            <a:off x="11785601" y="6339134"/>
            <a:ext cx="184385" cy="196529"/>
          </a:xfrm>
        </p:spPr>
        <p:txBody>
          <a:bodyPr lIns="0" tIns="0" rIns="0" bIns="0"/>
          <a:lstStyle>
            <a:lvl1pPr>
              <a:defRPr sz="1277" b="0" i="0">
                <a:solidFill>
                  <a:schemeClr val="bg1"/>
                </a:solidFill>
                <a:latin typeface="Source Serif Pro"/>
                <a:cs typeface="Source Serif Pro"/>
              </a:defRPr>
            </a:lvl1pPr>
          </a:lstStyle>
          <a:p>
            <a:pPr marL="13513">
              <a:spcBef>
                <a:spcPts val="160"/>
              </a:spcBef>
            </a:pPr>
            <a:fld id="{81D60167-4931-47E6-BA6A-407CBD079E47}" type="slidenum">
              <a:rPr lang="en-US" spc="-74" smtClean="0"/>
              <a:pPr marL="13513">
                <a:spcBef>
                  <a:spcPts val="160"/>
                </a:spcBef>
              </a:pPr>
              <a:t>‹#›</a:t>
            </a:fld>
            <a:endParaRPr lang="en-US" spc="-74" dirty="0"/>
          </a:p>
        </p:txBody>
      </p:sp>
    </p:spTree>
    <p:extLst>
      <p:ext uri="{BB962C8B-B14F-4D97-AF65-F5344CB8AC3E}">
        <p14:creationId xmlns:p14="http://schemas.microsoft.com/office/powerpoint/2010/main" val="322740044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a:xfrm>
            <a:off x="894939" y="2456542"/>
            <a:ext cx="9262157" cy="409343"/>
          </a:xfrm>
        </p:spPr>
        <p:txBody>
          <a:bodyPr lIns="0" tIns="0" rIns="0" bIns="0"/>
          <a:lstStyle>
            <a:lvl1pPr>
              <a:defRPr sz="2660" b="0" i="0">
                <a:solidFill>
                  <a:schemeClr val="bg1"/>
                </a:solidFill>
                <a:latin typeface="Source Serif Pro"/>
                <a:cs typeface="Source Serif Pro"/>
              </a:defRPr>
            </a:lvl1pPr>
          </a:lstStyle>
          <a:p>
            <a:endParaRPr/>
          </a:p>
        </p:txBody>
      </p:sp>
      <p:sp>
        <p:nvSpPr>
          <p:cNvPr id="3" name="Holder 3"/>
          <p:cNvSpPr>
            <a:spLocks noGrp="1"/>
          </p:cNvSpPr>
          <p:nvPr>
            <p:ph sz="half" idx="2"/>
          </p:nvPr>
        </p:nvSpPr>
        <p:spPr>
          <a:xfrm>
            <a:off x="609601" y="1577340"/>
            <a:ext cx="5303520" cy="276999"/>
          </a:xfrm>
          <a:prstGeom prst="rect">
            <a:avLst/>
          </a:prstGeom>
        </p:spPr>
        <p:txBody>
          <a:bodyPr wrap="square" lIns="0" tIns="0" rIns="0" bIns="0">
            <a:spAutoFit/>
          </a:bodyPr>
          <a:lstStyle>
            <a:lvl1pPr>
              <a:defRPr/>
            </a:lvl1pPr>
          </a:lstStyle>
          <a:p>
            <a:endParaRPr dirty="0"/>
          </a:p>
        </p:txBody>
      </p:sp>
      <p:sp>
        <p:nvSpPr>
          <p:cNvPr id="4" name="Holder 4"/>
          <p:cNvSpPr>
            <a:spLocks noGrp="1"/>
          </p:cNvSpPr>
          <p:nvPr>
            <p:ph sz="half" idx="3"/>
          </p:nvPr>
        </p:nvSpPr>
        <p:spPr>
          <a:xfrm>
            <a:off x="6278881" y="1577340"/>
            <a:ext cx="5303520" cy="276999"/>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5/2025</a:t>
            </a:fld>
            <a:endParaRPr lang="en-US"/>
          </a:p>
        </p:txBody>
      </p:sp>
      <p:sp>
        <p:nvSpPr>
          <p:cNvPr id="7" name="Holder 7"/>
          <p:cNvSpPr>
            <a:spLocks noGrp="1"/>
          </p:cNvSpPr>
          <p:nvPr>
            <p:ph type="sldNum" sz="quarter" idx="7"/>
          </p:nvPr>
        </p:nvSpPr>
        <p:spPr/>
        <p:txBody>
          <a:bodyPr lIns="0" tIns="0" rIns="0" bIns="0"/>
          <a:lstStyle>
            <a:lvl1pPr>
              <a:defRPr sz="1277" b="0" i="0">
                <a:solidFill>
                  <a:schemeClr val="bg1"/>
                </a:solidFill>
                <a:latin typeface="Source Serif Pro"/>
                <a:cs typeface="Source Serif Pro"/>
              </a:defRPr>
            </a:lvl1pPr>
          </a:lstStyle>
          <a:p>
            <a:pPr marL="13513">
              <a:spcBef>
                <a:spcPts val="160"/>
              </a:spcBef>
            </a:pPr>
            <a:fld id="{81D60167-4931-47E6-BA6A-407CBD079E47}" type="slidenum">
              <a:rPr lang="en-US" spc="-74" smtClean="0"/>
              <a:pPr marL="13513">
                <a:spcBef>
                  <a:spcPts val="160"/>
                </a:spcBef>
              </a:pPr>
              <a:t>‹#›</a:t>
            </a:fld>
            <a:endParaRPr lang="en-US" spc="-74" dirty="0"/>
          </a:p>
        </p:txBody>
      </p:sp>
    </p:spTree>
    <p:extLst>
      <p:ext uri="{BB962C8B-B14F-4D97-AF65-F5344CB8AC3E}">
        <p14:creationId xmlns:p14="http://schemas.microsoft.com/office/powerpoint/2010/main" val="109027146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obj" preserve="1">
  <p:cSld name="Title Only">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1"/>
            <a:ext cx="12192000" cy="6841108"/>
          </a:xfrm>
          <a:custGeom>
            <a:avLst/>
            <a:gdLst/>
            <a:ahLst/>
            <a:cxnLst/>
            <a:rect l="l" t="t" r="r" b="b"/>
            <a:pathLst>
              <a:path w="10287000" h="6429375">
                <a:moveTo>
                  <a:pt x="10286999" y="6429374"/>
                </a:moveTo>
                <a:lnTo>
                  <a:pt x="0" y="6429374"/>
                </a:lnTo>
                <a:lnTo>
                  <a:pt x="0" y="0"/>
                </a:lnTo>
                <a:lnTo>
                  <a:pt x="10286999" y="0"/>
                </a:lnTo>
                <a:lnTo>
                  <a:pt x="10286999" y="6429374"/>
                </a:lnTo>
                <a:close/>
              </a:path>
            </a:pathLst>
          </a:custGeom>
          <a:solidFill>
            <a:srgbClr val="001646"/>
          </a:solidFill>
        </p:spPr>
        <p:txBody>
          <a:bodyPr wrap="square" lIns="0" tIns="0" rIns="0" bIns="0" rtlCol="0"/>
          <a:lstStyle/>
          <a:p>
            <a:endParaRPr sz="1915"/>
          </a:p>
        </p:txBody>
      </p:sp>
      <p:pic>
        <p:nvPicPr>
          <p:cNvPr id="17" name="bg object 17"/>
          <p:cNvPicPr/>
          <p:nvPr/>
        </p:nvPicPr>
        <p:blipFill>
          <a:blip r:embed="rId2" cstate="print"/>
          <a:stretch>
            <a:fillRect/>
          </a:stretch>
        </p:blipFill>
        <p:spPr>
          <a:xfrm>
            <a:off x="994423" y="908153"/>
            <a:ext cx="9706452" cy="649921"/>
          </a:xfrm>
          <a:prstGeom prst="rect">
            <a:avLst/>
          </a:prstGeom>
        </p:spPr>
      </p:pic>
      <p:sp>
        <p:nvSpPr>
          <p:cNvPr id="18" name="bg object 18"/>
          <p:cNvSpPr/>
          <p:nvPr/>
        </p:nvSpPr>
        <p:spPr>
          <a:xfrm>
            <a:off x="912702" y="1637870"/>
            <a:ext cx="612610" cy="649990"/>
          </a:xfrm>
          <a:custGeom>
            <a:avLst/>
            <a:gdLst/>
            <a:ahLst/>
            <a:cxnLst/>
            <a:rect l="l" t="t" r="r" b="b"/>
            <a:pathLst>
              <a:path w="516890" h="610869">
                <a:moveTo>
                  <a:pt x="230985" y="92139"/>
                </a:moveTo>
                <a:lnTo>
                  <a:pt x="21509" y="92139"/>
                </a:lnTo>
                <a:lnTo>
                  <a:pt x="21509" y="26239"/>
                </a:lnTo>
                <a:lnTo>
                  <a:pt x="328590" y="26239"/>
                </a:lnTo>
                <a:lnTo>
                  <a:pt x="328590" y="35392"/>
                </a:lnTo>
                <a:lnTo>
                  <a:pt x="276265" y="35392"/>
                </a:lnTo>
                <a:lnTo>
                  <a:pt x="230985" y="92139"/>
                </a:lnTo>
                <a:close/>
              </a:path>
              <a:path w="516890" h="610869">
                <a:moveTo>
                  <a:pt x="183363" y="257807"/>
                </a:moveTo>
                <a:lnTo>
                  <a:pt x="127922" y="221303"/>
                </a:lnTo>
                <a:lnTo>
                  <a:pt x="276265" y="35392"/>
                </a:lnTo>
                <a:lnTo>
                  <a:pt x="296554" y="92139"/>
                </a:lnTo>
                <a:lnTo>
                  <a:pt x="315453" y="92139"/>
                </a:lnTo>
                <a:lnTo>
                  <a:pt x="219000" y="213111"/>
                </a:lnTo>
                <a:lnTo>
                  <a:pt x="175583" y="213111"/>
                </a:lnTo>
                <a:lnTo>
                  <a:pt x="214845" y="215523"/>
                </a:lnTo>
                <a:lnTo>
                  <a:pt x="216755" y="215927"/>
                </a:lnTo>
                <a:lnTo>
                  <a:pt x="183363" y="257807"/>
                </a:lnTo>
                <a:close/>
              </a:path>
              <a:path w="516890" h="610869">
                <a:moveTo>
                  <a:pt x="315453" y="92139"/>
                </a:moveTo>
                <a:lnTo>
                  <a:pt x="296554" y="92139"/>
                </a:lnTo>
                <a:lnTo>
                  <a:pt x="276265" y="35392"/>
                </a:lnTo>
                <a:lnTo>
                  <a:pt x="328590" y="35392"/>
                </a:lnTo>
                <a:lnTo>
                  <a:pt x="328590" y="75664"/>
                </a:lnTo>
                <a:lnTo>
                  <a:pt x="315453" y="92139"/>
                </a:lnTo>
                <a:close/>
              </a:path>
              <a:path w="516890" h="610869">
                <a:moveTo>
                  <a:pt x="127922" y="221303"/>
                </a:moveTo>
                <a:lnTo>
                  <a:pt x="115479" y="213111"/>
                </a:lnTo>
                <a:lnTo>
                  <a:pt x="134459" y="213111"/>
                </a:lnTo>
                <a:lnTo>
                  <a:pt x="127922" y="221303"/>
                </a:lnTo>
                <a:close/>
              </a:path>
              <a:path w="516890" h="610869">
                <a:moveTo>
                  <a:pt x="216755" y="215927"/>
                </a:moveTo>
                <a:lnTo>
                  <a:pt x="214845" y="215523"/>
                </a:lnTo>
                <a:lnTo>
                  <a:pt x="175583" y="213111"/>
                </a:lnTo>
                <a:lnTo>
                  <a:pt x="219000" y="213111"/>
                </a:lnTo>
                <a:lnTo>
                  <a:pt x="216755" y="215927"/>
                </a:lnTo>
                <a:close/>
              </a:path>
              <a:path w="516890" h="610869">
                <a:moveTo>
                  <a:pt x="307787" y="257807"/>
                </a:moveTo>
                <a:lnTo>
                  <a:pt x="183363" y="257807"/>
                </a:lnTo>
                <a:lnTo>
                  <a:pt x="216755" y="215927"/>
                </a:lnTo>
                <a:lnTo>
                  <a:pt x="249035" y="222759"/>
                </a:lnTo>
                <a:lnTo>
                  <a:pt x="278153" y="234820"/>
                </a:lnTo>
                <a:lnTo>
                  <a:pt x="302199" y="251705"/>
                </a:lnTo>
                <a:lnTo>
                  <a:pt x="307787" y="257807"/>
                </a:lnTo>
                <a:close/>
              </a:path>
              <a:path w="516890" h="610869">
                <a:moveTo>
                  <a:pt x="324491" y="426069"/>
                </a:moveTo>
                <a:lnTo>
                  <a:pt x="173753" y="426069"/>
                </a:lnTo>
                <a:lnTo>
                  <a:pt x="197064" y="424801"/>
                </a:lnTo>
                <a:lnTo>
                  <a:pt x="217267" y="420996"/>
                </a:lnTo>
                <a:lnTo>
                  <a:pt x="259268" y="394720"/>
                </a:lnTo>
                <a:lnTo>
                  <a:pt x="273214" y="351625"/>
                </a:lnTo>
                <a:lnTo>
                  <a:pt x="271698" y="335540"/>
                </a:lnTo>
                <a:lnTo>
                  <a:pt x="248959" y="297470"/>
                </a:lnTo>
                <a:lnTo>
                  <a:pt x="194385" y="278306"/>
                </a:lnTo>
                <a:lnTo>
                  <a:pt x="168108" y="277028"/>
                </a:lnTo>
                <a:lnTo>
                  <a:pt x="123869" y="277028"/>
                </a:lnTo>
                <a:lnTo>
                  <a:pt x="123869" y="226382"/>
                </a:lnTo>
                <a:lnTo>
                  <a:pt x="127922" y="221303"/>
                </a:lnTo>
                <a:lnTo>
                  <a:pt x="183363" y="257807"/>
                </a:lnTo>
                <a:lnTo>
                  <a:pt x="307787" y="257807"/>
                </a:lnTo>
                <a:lnTo>
                  <a:pt x="321086" y="272328"/>
                </a:lnTo>
                <a:lnTo>
                  <a:pt x="334577" y="295754"/>
                </a:lnTo>
                <a:lnTo>
                  <a:pt x="342672" y="321982"/>
                </a:lnTo>
                <a:lnTo>
                  <a:pt x="345370" y="351014"/>
                </a:lnTo>
                <a:lnTo>
                  <a:pt x="344159" y="370674"/>
                </a:lnTo>
                <a:lnTo>
                  <a:pt x="340527" y="389380"/>
                </a:lnTo>
                <a:lnTo>
                  <a:pt x="334472" y="407133"/>
                </a:lnTo>
                <a:lnTo>
                  <a:pt x="325996" y="423933"/>
                </a:lnTo>
                <a:lnTo>
                  <a:pt x="324491" y="426069"/>
                </a:lnTo>
                <a:close/>
              </a:path>
              <a:path w="516890" h="610869">
                <a:moveTo>
                  <a:pt x="173753" y="493343"/>
                </a:moveTo>
                <a:lnTo>
                  <a:pt x="125280" y="489300"/>
                </a:lnTo>
                <a:lnTo>
                  <a:pt x="79325" y="477173"/>
                </a:lnTo>
                <a:lnTo>
                  <a:pt x="37221" y="456235"/>
                </a:lnTo>
                <a:lnTo>
                  <a:pt x="0" y="426069"/>
                </a:lnTo>
                <a:lnTo>
                  <a:pt x="35848" y="367338"/>
                </a:lnTo>
                <a:lnTo>
                  <a:pt x="51327" y="382096"/>
                </a:lnTo>
                <a:lnTo>
                  <a:pt x="67350" y="394720"/>
                </a:lnTo>
                <a:lnTo>
                  <a:pt x="117405" y="418603"/>
                </a:lnTo>
                <a:lnTo>
                  <a:pt x="173753" y="426069"/>
                </a:lnTo>
                <a:lnTo>
                  <a:pt x="324491" y="426069"/>
                </a:lnTo>
                <a:lnTo>
                  <a:pt x="315118" y="439369"/>
                </a:lnTo>
                <a:lnTo>
                  <a:pt x="286210" y="464921"/>
                </a:lnTo>
                <a:lnTo>
                  <a:pt x="247863" y="483046"/>
                </a:lnTo>
                <a:lnTo>
                  <a:pt x="200649" y="492199"/>
                </a:lnTo>
                <a:lnTo>
                  <a:pt x="173753" y="493343"/>
                </a:lnTo>
                <a:close/>
              </a:path>
              <a:path w="516890" h="610869">
                <a:moveTo>
                  <a:pt x="437650" y="610805"/>
                </a:moveTo>
                <a:lnTo>
                  <a:pt x="365495" y="610805"/>
                </a:lnTo>
                <a:lnTo>
                  <a:pt x="387500" y="570427"/>
                </a:lnTo>
                <a:lnTo>
                  <a:pt x="405615" y="531518"/>
                </a:lnTo>
                <a:lnTo>
                  <a:pt x="419840" y="494077"/>
                </a:lnTo>
                <a:lnTo>
                  <a:pt x="437517" y="422131"/>
                </a:lnTo>
                <a:lnTo>
                  <a:pt x="445907" y="345780"/>
                </a:lnTo>
                <a:lnTo>
                  <a:pt x="446956" y="305403"/>
                </a:lnTo>
                <a:lnTo>
                  <a:pt x="445907" y="265025"/>
                </a:lnTo>
                <a:lnTo>
                  <a:pt x="442761" y="226115"/>
                </a:lnTo>
                <a:lnTo>
                  <a:pt x="430175" y="152701"/>
                </a:lnTo>
                <a:lnTo>
                  <a:pt x="405615" y="79287"/>
                </a:lnTo>
                <a:lnTo>
                  <a:pt x="387500" y="40378"/>
                </a:lnTo>
                <a:lnTo>
                  <a:pt x="365495" y="0"/>
                </a:lnTo>
                <a:lnTo>
                  <a:pt x="437498" y="0"/>
                </a:lnTo>
                <a:lnTo>
                  <a:pt x="472851" y="66778"/>
                </a:lnTo>
                <a:lnTo>
                  <a:pt x="486495" y="102770"/>
                </a:lnTo>
                <a:lnTo>
                  <a:pt x="497450" y="140497"/>
                </a:lnTo>
                <a:lnTo>
                  <a:pt x="505859" y="179693"/>
                </a:lnTo>
                <a:lnTo>
                  <a:pt x="511865" y="220242"/>
                </a:lnTo>
                <a:lnTo>
                  <a:pt x="515469" y="262146"/>
                </a:lnTo>
                <a:lnTo>
                  <a:pt x="516671" y="305403"/>
                </a:lnTo>
                <a:lnTo>
                  <a:pt x="515548" y="345780"/>
                </a:lnTo>
                <a:lnTo>
                  <a:pt x="515469" y="348622"/>
                </a:lnTo>
                <a:lnTo>
                  <a:pt x="511865" y="390411"/>
                </a:lnTo>
                <a:lnTo>
                  <a:pt x="505859" y="430769"/>
                </a:lnTo>
                <a:lnTo>
                  <a:pt x="497450" y="469698"/>
                </a:lnTo>
                <a:lnTo>
                  <a:pt x="486504" y="507177"/>
                </a:lnTo>
                <a:lnTo>
                  <a:pt x="472889" y="543188"/>
                </a:lnTo>
                <a:lnTo>
                  <a:pt x="456604" y="577731"/>
                </a:lnTo>
                <a:lnTo>
                  <a:pt x="437650" y="610805"/>
                </a:lnTo>
                <a:close/>
              </a:path>
            </a:pathLst>
          </a:custGeom>
          <a:solidFill>
            <a:srgbClr val="FFBC0E"/>
          </a:solidFill>
        </p:spPr>
        <p:txBody>
          <a:bodyPr wrap="square" lIns="0" tIns="0" rIns="0" bIns="0" rtlCol="0"/>
          <a:lstStyle/>
          <a:p>
            <a:endParaRPr sz="1915"/>
          </a:p>
        </p:txBody>
      </p:sp>
      <p:sp>
        <p:nvSpPr>
          <p:cNvPr id="2" name="Holder 2"/>
          <p:cNvSpPr>
            <a:spLocks noGrp="1"/>
          </p:cNvSpPr>
          <p:nvPr>
            <p:ph type="title"/>
          </p:nvPr>
        </p:nvSpPr>
        <p:spPr>
          <a:xfrm>
            <a:off x="894939" y="2456542"/>
            <a:ext cx="9262157" cy="409343"/>
          </a:xfrm>
        </p:spPr>
        <p:txBody>
          <a:bodyPr lIns="0" tIns="0" rIns="0" bIns="0"/>
          <a:lstStyle>
            <a:lvl1pPr>
              <a:defRPr sz="2660" b="0" i="0">
                <a:solidFill>
                  <a:schemeClr val="bg1"/>
                </a:solidFill>
                <a:latin typeface="Source Serif Pro"/>
                <a:cs typeface="Source Serif Pro"/>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5/2025</a:t>
            </a:fld>
            <a:endParaRPr lang="en-US"/>
          </a:p>
        </p:txBody>
      </p:sp>
      <p:sp>
        <p:nvSpPr>
          <p:cNvPr id="5" name="Holder 5"/>
          <p:cNvSpPr>
            <a:spLocks noGrp="1"/>
          </p:cNvSpPr>
          <p:nvPr>
            <p:ph type="sldNum" sz="quarter" idx="7"/>
          </p:nvPr>
        </p:nvSpPr>
        <p:spPr/>
        <p:txBody>
          <a:bodyPr lIns="0" tIns="0" rIns="0" bIns="0"/>
          <a:lstStyle>
            <a:lvl1pPr>
              <a:defRPr sz="1277" b="0" i="0">
                <a:solidFill>
                  <a:schemeClr val="bg1"/>
                </a:solidFill>
                <a:latin typeface="Source Serif Pro"/>
                <a:cs typeface="Source Serif Pro"/>
              </a:defRPr>
            </a:lvl1pPr>
          </a:lstStyle>
          <a:p>
            <a:pPr marL="13513">
              <a:spcBef>
                <a:spcPts val="160"/>
              </a:spcBef>
            </a:pPr>
            <a:fld id="{81D60167-4931-47E6-BA6A-407CBD079E47}" type="slidenum">
              <a:rPr lang="en-US" spc="-74" smtClean="0"/>
              <a:pPr marL="13513">
                <a:spcBef>
                  <a:spcPts val="160"/>
                </a:spcBef>
              </a:pPr>
              <a:t>‹#›</a:t>
            </a:fld>
            <a:endParaRPr lang="en-US" spc="-74" dirty="0"/>
          </a:p>
        </p:txBody>
      </p:sp>
    </p:spTree>
    <p:extLst>
      <p:ext uri="{BB962C8B-B14F-4D97-AF65-F5344CB8AC3E}">
        <p14:creationId xmlns:p14="http://schemas.microsoft.com/office/powerpoint/2010/main" val="114507303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dirty="0"/>
          </a:p>
        </p:txBody>
      </p:sp>
      <p:sp>
        <p:nvSpPr>
          <p:cNvPr id="3" name="Holder 3"/>
          <p:cNvSpPr>
            <a:spLocks noGrp="1"/>
          </p:cNvSpPr>
          <p:nvPr>
            <p:ph type="dt" sz="half" idx="6"/>
          </p:nvPr>
        </p:nvSpPr>
        <p:spPr>
          <a:xfrm>
            <a:off x="609600" y="6377940"/>
            <a:ext cx="2804160" cy="276999"/>
          </a:xfrm>
        </p:spPr>
        <p:txBody>
          <a:bodyPr lIns="0" tIns="0" rIns="0" bIns="0"/>
          <a:lstStyle>
            <a:lvl1pPr algn="l">
              <a:defRPr>
                <a:solidFill>
                  <a:schemeClr val="bg2"/>
                </a:solidFill>
              </a:defRPr>
            </a:lvl1pPr>
          </a:lstStyle>
          <a:p>
            <a:fld id="{1D8BD707-D9CF-40AE-B4C6-C98DA3205C09}" type="datetimeFigureOut">
              <a:rPr lang="en-US" smtClean="0"/>
              <a:pPr/>
              <a:t>11/5/2025</a:t>
            </a:fld>
            <a:endParaRPr lang="en-US" dirty="0"/>
          </a:p>
        </p:txBody>
      </p:sp>
      <p:sp>
        <p:nvSpPr>
          <p:cNvPr id="4" name="Holder 4"/>
          <p:cNvSpPr>
            <a:spLocks noGrp="1"/>
          </p:cNvSpPr>
          <p:nvPr>
            <p:ph type="sldNum" sz="quarter" idx="7"/>
          </p:nvPr>
        </p:nvSpPr>
        <p:spPr/>
        <p:txBody>
          <a:bodyPr lIns="0" tIns="0" rIns="0" bIns="0"/>
          <a:lstStyle>
            <a:lvl1pPr>
              <a:defRPr sz="1277" b="0" i="0">
                <a:solidFill>
                  <a:schemeClr val="bg1"/>
                </a:solidFill>
                <a:latin typeface="Source Serif Pro"/>
                <a:cs typeface="Source Serif Pro"/>
              </a:defRPr>
            </a:lvl1pPr>
          </a:lstStyle>
          <a:p>
            <a:pPr marL="13513">
              <a:spcBef>
                <a:spcPts val="160"/>
              </a:spcBef>
            </a:pPr>
            <a:fld id="{81D60167-4931-47E6-BA6A-407CBD079E47}" type="slidenum">
              <a:rPr lang="en-US" spc="-74" smtClean="0"/>
              <a:pPr marL="13513">
                <a:spcBef>
                  <a:spcPts val="160"/>
                </a:spcBef>
              </a:pPr>
              <a:t>‹#›</a:t>
            </a:fld>
            <a:endParaRPr lang="en-US" spc="-74" dirty="0"/>
          </a:p>
        </p:txBody>
      </p:sp>
    </p:spTree>
    <p:extLst>
      <p:ext uri="{BB962C8B-B14F-4D97-AF65-F5344CB8AC3E}">
        <p14:creationId xmlns:p14="http://schemas.microsoft.com/office/powerpoint/2010/main" val="338716007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Default">
    <p:spTree>
      <p:nvGrpSpPr>
        <p:cNvPr id="1" name=""/>
        <p:cNvGrpSpPr/>
        <p:nvPr/>
      </p:nvGrpSpPr>
      <p:grpSpPr>
        <a:xfrm>
          <a:off x="0" y="0"/>
          <a:ext cx="0" cy="0"/>
          <a:chOff x="0" y="0"/>
          <a:chExt cx="0" cy="0"/>
        </a:xfrm>
      </p:grpSpPr>
      <p:graphicFrame>
        <p:nvGraphicFramePr>
          <p:cNvPr id="3" name="Object 8" hidden="1">
            <a:extLst>
              <a:ext uri="{FF2B5EF4-FFF2-40B4-BE49-F238E27FC236}">
                <a16:creationId xmlns:a16="http://schemas.microsoft.com/office/drawing/2014/main" id="{D8EFF8A2-0FB9-4B25-8B8D-492353274983}"/>
              </a:ext>
            </a:extLst>
          </p:cNvPr>
          <p:cNvGraphicFramePr>
            <a:graphicFrameLocks noChangeAspect="1"/>
          </p:cNvGraphicFramePr>
          <p:nvPr>
            <p:custDataLst>
              <p:tags r:id="rId1"/>
            </p:custDataLst>
            <p:extLst>
              <p:ext uri="{D42A27DB-BD31-4B8C-83A1-F6EECF244321}">
                <p14:modId xmlns:p14="http://schemas.microsoft.com/office/powerpoint/2010/main" val="32290505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413" imgH="416" progId="TCLayout.ActiveDocument.1">
                  <p:embed/>
                </p:oleObj>
              </mc:Choice>
              <mc:Fallback>
                <p:oleObj name="think-cell Slide" r:id="rId13" imgW="413" imgH="416" progId="TCLayout.ActiveDocument.1">
                  <p:embed/>
                  <p:pic>
                    <p:nvPicPr>
                      <p:cNvPr id="3" name="Object 8" hidden="1">
                        <a:extLst>
                          <a:ext uri="{FF2B5EF4-FFF2-40B4-BE49-F238E27FC236}">
                            <a16:creationId xmlns:a16="http://schemas.microsoft.com/office/drawing/2014/main" id="{D8EFF8A2-0FB9-4B25-8B8D-492353274983}"/>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Rectangle 7" hidden="1">
            <a:extLst>
              <a:ext uri="{FF2B5EF4-FFF2-40B4-BE49-F238E27FC236}">
                <a16:creationId xmlns:a16="http://schemas.microsoft.com/office/drawing/2014/main" id="{9F741700-5035-4E61-A4AC-1B3C7AE220D5}"/>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245"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7" y="355093"/>
            <a:ext cx="11082528" cy="384721"/>
          </a:xfrm>
        </p:spPr>
        <p:txBody>
          <a:bodyPr vert="horz"/>
          <a:lstStyle/>
          <a:p>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7" y="1318966"/>
            <a:ext cx="11082528" cy="276999"/>
          </a:xfrm>
        </p:spPr>
        <p:txBody>
          <a:bodyPr wrap="square">
            <a:noAutofit/>
          </a:bodyPr>
          <a:lstStyle>
            <a:lvl1pPr marL="0" indent="0" algn="l">
              <a:buNone/>
              <a:defRPr sz="1616" b="0">
                <a:solidFill>
                  <a:schemeClr val="bg2"/>
                </a:solidFill>
              </a:defRPr>
            </a:lvl1pPr>
            <a:lvl2pPr marL="410475" indent="0" algn="ctr">
              <a:buNone/>
              <a:defRPr sz="1796"/>
            </a:lvl2pPr>
            <a:lvl3pPr marL="820952" indent="0" algn="ctr">
              <a:buNone/>
              <a:defRPr sz="1616"/>
            </a:lvl3pPr>
            <a:lvl4pPr marL="1231427" indent="0" algn="ctr">
              <a:buNone/>
              <a:defRPr sz="1436"/>
            </a:lvl4pPr>
            <a:lvl5pPr marL="1641902" indent="0" algn="ctr">
              <a:buNone/>
              <a:defRPr sz="1436"/>
            </a:lvl5pPr>
            <a:lvl6pPr marL="2052378" indent="0" algn="ctr">
              <a:buNone/>
              <a:defRPr sz="1436"/>
            </a:lvl6pPr>
            <a:lvl7pPr marL="2462854" indent="0" algn="ctr">
              <a:buNone/>
              <a:defRPr sz="1436"/>
            </a:lvl7pPr>
            <a:lvl8pPr marL="2873330" indent="0" algn="ctr">
              <a:buNone/>
              <a:defRPr sz="1436"/>
            </a:lvl8pPr>
            <a:lvl9pPr marL="3283805" indent="0" algn="ctr">
              <a:buNone/>
              <a:defRPr sz="1436"/>
            </a:lvl9pPr>
          </a:lstStyle>
          <a:p>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p:custDataLst>
              <p:tags r:id="rId5"/>
            </p:custDataLst>
          </p:nvPr>
        </p:nvSpPr>
        <p:spPr bwMode="black">
          <a:xfrm>
            <a:off x="11312527" y="6512925"/>
            <a:ext cx="325500" cy="124329"/>
          </a:xfrm>
          <a:prstGeom prst="rect">
            <a:avLst/>
          </a:prstGeom>
          <a:noFill/>
          <a:ln w="9525" algn="ctr">
            <a:noFill/>
            <a:miter lim="800000"/>
            <a:headEnd/>
            <a:tailEnd/>
          </a:ln>
          <a:effectLst/>
        </p:spPr>
        <p:txBody>
          <a:bodyPr wrap="square" lIns="0" tIns="0" rIns="0" bIns="0" anchor="b">
            <a:spAutoFit/>
          </a:bodyPr>
          <a:lstStyle/>
          <a:p>
            <a:pPr algn="r" defTabSz="548328" fontAlgn="auto">
              <a:spcBef>
                <a:spcPts val="0"/>
              </a:spcBef>
              <a:spcAft>
                <a:spcPts val="0"/>
              </a:spcAft>
              <a:defRPr/>
            </a:pPr>
            <a:fld id="{4ABDCABE-3F10-B64C-92F1-862014417034}" type="slidenum">
              <a:rPr lang="en-US" sz="808" smtClean="0">
                <a:solidFill>
                  <a:schemeClr val="bg2"/>
                </a:solidFill>
                <a:latin typeface="+mn-lt"/>
                <a:ea typeface="+mn-ea"/>
                <a:cs typeface="Arial" panose="020B0604020202020204" pitchFamily="34" charset="0"/>
              </a:rPr>
              <a:pPr algn="r" defTabSz="548328" fontAlgn="auto">
                <a:spcBef>
                  <a:spcPts val="0"/>
                </a:spcBef>
                <a:spcAft>
                  <a:spcPts val="0"/>
                </a:spcAft>
                <a:defRPr/>
              </a:pPr>
              <a:t>‹#›</a:t>
            </a:fld>
            <a:endParaRPr lang="en-US" sz="808" dirty="0">
              <a:solidFill>
                <a:schemeClr val="bg2"/>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p:custDataLst>
              <p:tags r:id="rId6"/>
            </p:custDataLst>
          </p:nvPr>
        </p:nvSpPr>
        <p:spPr>
          <a:xfrm>
            <a:off x="554736" y="6501670"/>
            <a:ext cx="7277861" cy="110479"/>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18"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7"/>
            </p:custDataLst>
          </p:nvPr>
        </p:nvSpPr>
        <p:spPr>
          <a:xfrm>
            <a:off x="7630161" y="106832"/>
            <a:ext cx="4007104" cy="110527"/>
          </a:xfrm>
        </p:spPr>
        <p:txBody>
          <a:bodyPr wrap="square" anchor="ctr" anchorCtr="0">
            <a:spAutoFit/>
          </a:bodyPr>
          <a:lstStyle>
            <a:lvl1pPr algn="r">
              <a:defRPr sz="718">
                <a:latin typeface="+mn-lt"/>
              </a:defRPr>
            </a:lvl1pPr>
          </a:lstStyle>
          <a:p>
            <a:pPr lvl="0"/>
            <a:r>
              <a:rPr lang="en-US" dirty="0"/>
              <a:t>Section marker</a:t>
            </a:r>
          </a:p>
        </p:txBody>
      </p:sp>
      <p:graphicFrame>
        <p:nvGraphicFramePr>
          <p:cNvPr id="4" name="Object 8" hidden="1">
            <a:extLst>
              <a:ext uri="{FF2B5EF4-FFF2-40B4-BE49-F238E27FC236}">
                <a16:creationId xmlns:a16="http://schemas.microsoft.com/office/drawing/2014/main" id="{9E38A7D7-608F-19F8-5D41-7353898A7DB2}"/>
              </a:ext>
            </a:extLst>
          </p:cNvPr>
          <p:cNvGraphicFramePr>
            <a:graphicFrameLocks noChangeAspect="1"/>
          </p:cNvGraphicFramePr>
          <p:nvPr userDrawn="1">
            <p:custDataLst>
              <p:tags r:id="rId8"/>
            </p:custDataLst>
            <p:extLst>
              <p:ext uri="{D42A27DB-BD31-4B8C-83A1-F6EECF244321}">
                <p14:modId xmlns:p14="http://schemas.microsoft.com/office/powerpoint/2010/main" val="32290505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413" imgH="416" progId="TCLayout.ActiveDocument.1">
                  <p:embed/>
                </p:oleObj>
              </mc:Choice>
              <mc:Fallback>
                <p:oleObj name="think-cell Slide" r:id="rId13" imgW="413" imgH="416" progId="TCLayout.ActiveDocument.1">
                  <p:embed/>
                  <p:pic>
                    <p:nvPicPr>
                      <p:cNvPr id="4" name="Object 8" hidden="1">
                        <a:extLst>
                          <a:ext uri="{FF2B5EF4-FFF2-40B4-BE49-F238E27FC236}">
                            <a16:creationId xmlns:a16="http://schemas.microsoft.com/office/drawing/2014/main" id="{9E38A7D7-608F-19F8-5D41-7353898A7DB2}"/>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5" name="Rectangle 7" hidden="1">
            <a:extLst>
              <a:ext uri="{FF2B5EF4-FFF2-40B4-BE49-F238E27FC236}">
                <a16:creationId xmlns:a16="http://schemas.microsoft.com/office/drawing/2014/main" id="{10AFCC02-86C3-8739-7F28-7E571CCC6649}"/>
              </a:ext>
            </a:extLst>
          </p:cNvPr>
          <p:cNvSpPr/>
          <p:nvPr userDrawn="1">
            <p:custDataLst>
              <p:tags r:id="rId9"/>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245"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6" name="Slide Number">
            <a:extLst>
              <a:ext uri="{FF2B5EF4-FFF2-40B4-BE49-F238E27FC236}">
                <a16:creationId xmlns:a16="http://schemas.microsoft.com/office/drawing/2014/main" id="{455AF5A0-7212-A12F-DDCF-78EF165B7FB2}"/>
              </a:ext>
            </a:extLst>
          </p:cNvPr>
          <p:cNvSpPr>
            <a:spLocks noChangeArrowheads="1"/>
          </p:cNvSpPr>
          <p:nvPr userDrawn="1">
            <p:custDataLst>
              <p:tags r:id="rId10"/>
            </p:custDataLst>
          </p:nvPr>
        </p:nvSpPr>
        <p:spPr bwMode="black">
          <a:xfrm>
            <a:off x="11312527" y="6512925"/>
            <a:ext cx="325500" cy="124329"/>
          </a:xfrm>
          <a:prstGeom prst="rect">
            <a:avLst/>
          </a:prstGeom>
          <a:noFill/>
          <a:ln w="9525" algn="ctr">
            <a:noFill/>
            <a:miter lim="800000"/>
            <a:headEnd/>
            <a:tailEnd/>
          </a:ln>
          <a:effectLst/>
        </p:spPr>
        <p:txBody>
          <a:bodyPr wrap="square" lIns="0" tIns="0" rIns="0" bIns="0" anchor="b">
            <a:spAutoFit/>
          </a:bodyPr>
          <a:lstStyle/>
          <a:p>
            <a:pPr algn="r" defTabSz="548328" fontAlgn="auto">
              <a:spcBef>
                <a:spcPts val="0"/>
              </a:spcBef>
              <a:spcAft>
                <a:spcPts val="0"/>
              </a:spcAft>
              <a:defRPr/>
            </a:pPr>
            <a:fld id="{4ABDCABE-3F10-B64C-92F1-862014417034}" type="slidenum">
              <a:rPr lang="en-US" sz="808" smtClean="0">
                <a:solidFill>
                  <a:schemeClr val="bg2"/>
                </a:solidFill>
                <a:latin typeface="+mn-lt"/>
                <a:ea typeface="+mn-ea"/>
                <a:cs typeface="Arial" panose="020B0604020202020204" pitchFamily="34" charset="0"/>
              </a:rPr>
              <a:pPr algn="r" defTabSz="548328" fontAlgn="auto">
                <a:spcBef>
                  <a:spcPts val="0"/>
                </a:spcBef>
                <a:spcAft>
                  <a:spcPts val="0"/>
                </a:spcAft>
                <a:defRPr/>
              </a:pPr>
              <a:t>‹#›</a:t>
            </a:fld>
            <a:endParaRPr lang="en-US" sz="808" dirty="0">
              <a:solidFill>
                <a:schemeClr val="bg2"/>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B7D733CB-20BE-CB02-D3B0-B7DAA2977832}"/>
              </a:ext>
            </a:extLst>
          </p:cNvPr>
          <p:cNvSpPr txBox="1"/>
          <p:nvPr userDrawn="1">
            <p:custDataLst>
              <p:tags r:id="rId11"/>
            </p:custDataLst>
          </p:nvPr>
        </p:nvSpPr>
        <p:spPr>
          <a:xfrm>
            <a:off x="554736" y="6501670"/>
            <a:ext cx="7277861" cy="110479"/>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18" dirty="0"/>
              <a:t>Source: …</a:t>
            </a:r>
          </a:p>
        </p:txBody>
      </p:sp>
    </p:spTree>
    <p:extLst>
      <p:ext uri="{BB962C8B-B14F-4D97-AF65-F5344CB8AC3E}">
        <p14:creationId xmlns:p14="http://schemas.microsoft.com/office/powerpoint/2010/main" val="144992647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CADAF6-E53D-5BE4-30FA-995840B12736}"/>
              </a:ext>
            </a:extLst>
          </p:cNvPr>
          <p:cNvSpPr>
            <a:spLocks noGrp="1"/>
          </p:cNvSpPr>
          <p:nvPr>
            <p:ph type="ctrTitle" hasCustomPrompt="1"/>
          </p:nvPr>
        </p:nvSpPr>
        <p:spPr>
          <a:xfrm>
            <a:off x="1524000" y="1130829"/>
            <a:ext cx="9144000" cy="1381125"/>
          </a:xfrm>
        </p:spPr>
        <p:txBody>
          <a:bodyPr anchor="b">
            <a:normAutofit/>
          </a:bodyPr>
          <a:lstStyle>
            <a:lvl1pPr algn="ctr">
              <a:defRPr sz="4000">
                <a:solidFill>
                  <a:schemeClr val="accent4">
                    <a:lumMod val="75000"/>
                  </a:schemeClr>
                </a:solidFill>
              </a:defRPr>
            </a:lvl1pPr>
          </a:lstStyle>
          <a:p>
            <a:r>
              <a:rPr lang="en-US" dirty="0"/>
              <a:t>Presentation Title</a:t>
            </a:r>
          </a:p>
        </p:txBody>
      </p:sp>
      <p:sp>
        <p:nvSpPr>
          <p:cNvPr id="3" name="Subtitle 2">
            <a:extLst>
              <a:ext uri="{FF2B5EF4-FFF2-40B4-BE49-F238E27FC236}">
                <a16:creationId xmlns:a16="http://schemas.microsoft.com/office/drawing/2014/main" id="{E91E0AA5-C181-221B-5473-5561603B86CB}"/>
              </a:ext>
            </a:extLst>
          </p:cNvPr>
          <p:cNvSpPr>
            <a:spLocks noGrp="1"/>
          </p:cNvSpPr>
          <p:nvPr>
            <p:ph type="subTitle" idx="1" hasCustomPrompt="1"/>
          </p:nvPr>
        </p:nvSpPr>
        <p:spPr>
          <a:xfrm>
            <a:off x="1524000" y="2853892"/>
            <a:ext cx="9144000" cy="2434800"/>
          </a:xfrm>
        </p:spPr>
        <p:txBody>
          <a:bodyPr/>
          <a:lstStyle>
            <a:lvl1pPr marL="0" indent="0" algn="ctr">
              <a:buNone/>
              <a:defRPr sz="2400">
                <a:solidFill>
                  <a:schemeClr val="tx1">
                    <a:lumMod val="65000"/>
                    <a:lumOff val="35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ESSION CODE (IF APPLICABLE)</a:t>
            </a:r>
          </a:p>
          <a:p>
            <a:r>
              <a:rPr lang="en-US" dirty="0"/>
              <a:t>FACULTY NAME, DESIGNATION(S)</a:t>
            </a:r>
          </a:p>
          <a:p>
            <a:r>
              <a:rPr lang="en-US" dirty="0"/>
              <a:t>FACULTY </a:t>
            </a:r>
            <a:r>
              <a:rPr lang="en-US" b="0" i="0" u="none" strike="noStrike" dirty="0">
                <a:solidFill>
                  <a:srgbClr val="000000"/>
                </a:solidFill>
                <a:effectLst/>
                <a:latin typeface="Arial" panose="020B0604020202020204" pitchFamily="34" charset="0"/>
              </a:rPr>
              <a:t>INSTITUTION</a:t>
            </a:r>
            <a:r>
              <a:rPr lang="en-US" dirty="0"/>
              <a:t> (IF APPLICABLE)</a:t>
            </a:r>
          </a:p>
          <a:p>
            <a:r>
              <a:rPr lang="en-US" dirty="0"/>
              <a:t>CITY, STATE</a:t>
            </a:r>
          </a:p>
          <a:p>
            <a:r>
              <a:rPr lang="en-US" dirty="0"/>
              <a:t>X HANDLE (IF </a:t>
            </a:r>
            <a:r>
              <a:rPr lang="en-US" b="0" i="0" u="none" strike="noStrike" dirty="0">
                <a:solidFill>
                  <a:srgbClr val="000000"/>
                </a:solidFill>
                <a:effectLst/>
                <a:latin typeface="Arial" panose="020B0604020202020204" pitchFamily="34" charset="0"/>
              </a:rPr>
              <a:t>APPLICABLE</a:t>
            </a:r>
            <a:r>
              <a:rPr lang="en-US" dirty="0"/>
              <a:t>)</a:t>
            </a:r>
          </a:p>
        </p:txBody>
      </p:sp>
    </p:spTree>
    <p:extLst>
      <p:ext uri="{BB962C8B-B14F-4D97-AF65-F5344CB8AC3E}">
        <p14:creationId xmlns:p14="http://schemas.microsoft.com/office/powerpoint/2010/main" val="145435307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894939" y="2456542"/>
            <a:ext cx="9262157" cy="409343"/>
          </a:xfrm>
        </p:spPr>
        <p:txBody>
          <a:bodyPr lIns="0" tIns="0" rIns="0" bIns="0"/>
          <a:lstStyle>
            <a:lvl1pPr>
              <a:defRPr sz="2660" b="0" i="0">
                <a:solidFill>
                  <a:schemeClr val="bg1"/>
                </a:solidFill>
                <a:latin typeface="Source Serif Pro"/>
                <a:cs typeface="Source Serif Pro"/>
              </a:defRPr>
            </a:lvl1pPr>
          </a:lstStyle>
          <a:p>
            <a:endParaRPr dirty="0"/>
          </a:p>
        </p:txBody>
      </p:sp>
      <p:sp>
        <p:nvSpPr>
          <p:cNvPr id="3" name="Holder 3"/>
          <p:cNvSpPr>
            <a:spLocks noGrp="1"/>
          </p:cNvSpPr>
          <p:nvPr>
            <p:ph type="body" idx="1"/>
          </p:nvPr>
        </p:nvSpPr>
        <p:spPr/>
        <p:txBody>
          <a:bodyPr lIns="0" tIns="0" rIns="0" bIns="0"/>
          <a:lstStyle>
            <a:lvl1pPr>
              <a:defRPr/>
            </a:lvl1pPr>
          </a:lstStyle>
          <a:p>
            <a:endParaRPr dirty="0"/>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dirty="0"/>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5/2025</a:t>
            </a:fld>
            <a:endParaRPr lang="en-US" dirty="0"/>
          </a:p>
        </p:txBody>
      </p:sp>
      <p:sp>
        <p:nvSpPr>
          <p:cNvPr id="6" name="Holder 6"/>
          <p:cNvSpPr>
            <a:spLocks noGrp="1"/>
          </p:cNvSpPr>
          <p:nvPr>
            <p:ph type="sldNum" sz="quarter" idx="7"/>
          </p:nvPr>
        </p:nvSpPr>
        <p:spPr>
          <a:xfrm>
            <a:off x="11785601" y="6339134"/>
            <a:ext cx="184385" cy="196529"/>
          </a:xfrm>
        </p:spPr>
        <p:txBody>
          <a:bodyPr lIns="0" tIns="0" rIns="0" bIns="0"/>
          <a:lstStyle>
            <a:lvl1pPr>
              <a:defRPr sz="1277" b="0" i="0">
                <a:solidFill>
                  <a:schemeClr val="bg1"/>
                </a:solidFill>
                <a:latin typeface="Source Serif Pro"/>
                <a:cs typeface="Source Serif Pro"/>
              </a:defRPr>
            </a:lvl1pPr>
          </a:lstStyle>
          <a:p>
            <a:pPr marL="13513">
              <a:spcBef>
                <a:spcPts val="160"/>
              </a:spcBef>
            </a:pPr>
            <a:fld id="{81D60167-4931-47E6-BA6A-407CBD079E47}" type="slidenum">
              <a:rPr lang="en-US" spc="-74" smtClean="0"/>
              <a:pPr marL="13513">
                <a:spcBef>
                  <a:spcPts val="160"/>
                </a:spcBef>
              </a:pPr>
              <a:t>‹#›</a:t>
            </a:fld>
            <a:endParaRPr lang="en-US" spc="-74" dirty="0"/>
          </a:p>
        </p:txBody>
      </p:sp>
    </p:spTree>
    <p:extLst>
      <p:ext uri="{BB962C8B-B14F-4D97-AF65-F5344CB8AC3E}">
        <p14:creationId xmlns:p14="http://schemas.microsoft.com/office/powerpoint/2010/main" val="234716543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a:xfrm>
            <a:off x="894939" y="2456542"/>
            <a:ext cx="9262157" cy="409343"/>
          </a:xfrm>
        </p:spPr>
        <p:txBody>
          <a:bodyPr lIns="0" tIns="0" rIns="0" bIns="0"/>
          <a:lstStyle>
            <a:lvl1pPr>
              <a:defRPr sz="2660" b="0" i="0">
                <a:solidFill>
                  <a:schemeClr val="bg1"/>
                </a:solidFill>
                <a:latin typeface="Source Serif Pro"/>
                <a:cs typeface="Source Serif Pro"/>
              </a:defRPr>
            </a:lvl1pPr>
          </a:lstStyle>
          <a:p>
            <a:endParaRPr/>
          </a:p>
        </p:txBody>
      </p:sp>
      <p:sp>
        <p:nvSpPr>
          <p:cNvPr id="3" name="Holder 3"/>
          <p:cNvSpPr>
            <a:spLocks noGrp="1"/>
          </p:cNvSpPr>
          <p:nvPr>
            <p:ph sz="half" idx="2"/>
          </p:nvPr>
        </p:nvSpPr>
        <p:spPr>
          <a:xfrm>
            <a:off x="609601" y="1577340"/>
            <a:ext cx="5303520" cy="276999"/>
          </a:xfrm>
          <a:prstGeom prst="rect">
            <a:avLst/>
          </a:prstGeom>
        </p:spPr>
        <p:txBody>
          <a:bodyPr wrap="square" lIns="0" tIns="0" rIns="0" bIns="0">
            <a:spAutoFit/>
          </a:bodyPr>
          <a:lstStyle>
            <a:lvl1pPr>
              <a:defRPr/>
            </a:lvl1pPr>
          </a:lstStyle>
          <a:p>
            <a:endParaRPr dirty="0"/>
          </a:p>
        </p:txBody>
      </p:sp>
      <p:sp>
        <p:nvSpPr>
          <p:cNvPr id="4" name="Holder 4"/>
          <p:cNvSpPr>
            <a:spLocks noGrp="1"/>
          </p:cNvSpPr>
          <p:nvPr>
            <p:ph sz="half" idx="3"/>
          </p:nvPr>
        </p:nvSpPr>
        <p:spPr>
          <a:xfrm>
            <a:off x="6278881" y="1577340"/>
            <a:ext cx="5303520" cy="276999"/>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5/2025</a:t>
            </a:fld>
            <a:endParaRPr lang="en-US"/>
          </a:p>
        </p:txBody>
      </p:sp>
      <p:sp>
        <p:nvSpPr>
          <p:cNvPr id="7" name="Holder 7"/>
          <p:cNvSpPr>
            <a:spLocks noGrp="1"/>
          </p:cNvSpPr>
          <p:nvPr>
            <p:ph type="sldNum" sz="quarter" idx="7"/>
          </p:nvPr>
        </p:nvSpPr>
        <p:spPr/>
        <p:txBody>
          <a:bodyPr lIns="0" tIns="0" rIns="0" bIns="0"/>
          <a:lstStyle>
            <a:lvl1pPr>
              <a:defRPr sz="1277" b="0" i="0">
                <a:solidFill>
                  <a:schemeClr val="bg1"/>
                </a:solidFill>
                <a:latin typeface="Source Serif Pro"/>
                <a:cs typeface="Source Serif Pro"/>
              </a:defRPr>
            </a:lvl1pPr>
          </a:lstStyle>
          <a:p>
            <a:pPr marL="13513">
              <a:spcBef>
                <a:spcPts val="160"/>
              </a:spcBef>
            </a:pPr>
            <a:fld id="{81D60167-4931-47E6-BA6A-407CBD079E47}" type="slidenum">
              <a:rPr lang="en-US" spc="-74" smtClean="0"/>
              <a:pPr marL="13513">
                <a:spcBef>
                  <a:spcPts val="160"/>
                </a:spcBef>
              </a:pPr>
              <a:t>‹#›</a:t>
            </a:fld>
            <a:endParaRPr lang="en-US" spc="-74" dirty="0"/>
          </a:p>
        </p:txBody>
      </p:sp>
    </p:spTree>
    <p:extLst>
      <p:ext uri="{BB962C8B-B14F-4D97-AF65-F5344CB8AC3E}">
        <p14:creationId xmlns:p14="http://schemas.microsoft.com/office/powerpoint/2010/main" val="160566708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obj" preserve="1">
  <p:cSld name="Title Only">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1"/>
            <a:ext cx="12192000" cy="6841108"/>
          </a:xfrm>
          <a:custGeom>
            <a:avLst/>
            <a:gdLst/>
            <a:ahLst/>
            <a:cxnLst/>
            <a:rect l="l" t="t" r="r" b="b"/>
            <a:pathLst>
              <a:path w="10287000" h="6429375">
                <a:moveTo>
                  <a:pt x="10286999" y="6429374"/>
                </a:moveTo>
                <a:lnTo>
                  <a:pt x="0" y="6429374"/>
                </a:lnTo>
                <a:lnTo>
                  <a:pt x="0" y="0"/>
                </a:lnTo>
                <a:lnTo>
                  <a:pt x="10286999" y="0"/>
                </a:lnTo>
                <a:lnTo>
                  <a:pt x="10286999" y="6429374"/>
                </a:lnTo>
                <a:close/>
              </a:path>
            </a:pathLst>
          </a:custGeom>
          <a:solidFill>
            <a:srgbClr val="001646"/>
          </a:solidFill>
        </p:spPr>
        <p:txBody>
          <a:bodyPr wrap="square" lIns="0" tIns="0" rIns="0" bIns="0" rtlCol="0"/>
          <a:lstStyle/>
          <a:p>
            <a:endParaRPr sz="1915"/>
          </a:p>
        </p:txBody>
      </p:sp>
      <p:pic>
        <p:nvPicPr>
          <p:cNvPr id="17" name="bg object 17"/>
          <p:cNvPicPr/>
          <p:nvPr/>
        </p:nvPicPr>
        <p:blipFill>
          <a:blip r:embed="rId2" cstate="print"/>
          <a:stretch>
            <a:fillRect/>
          </a:stretch>
        </p:blipFill>
        <p:spPr>
          <a:xfrm>
            <a:off x="994423" y="908153"/>
            <a:ext cx="9706452" cy="649921"/>
          </a:xfrm>
          <a:prstGeom prst="rect">
            <a:avLst/>
          </a:prstGeom>
        </p:spPr>
      </p:pic>
      <p:sp>
        <p:nvSpPr>
          <p:cNvPr id="18" name="bg object 18"/>
          <p:cNvSpPr/>
          <p:nvPr/>
        </p:nvSpPr>
        <p:spPr>
          <a:xfrm>
            <a:off x="912702" y="1637870"/>
            <a:ext cx="612610" cy="649990"/>
          </a:xfrm>
          <a:custGeom>
            <a:avLst/>
            <a:gdLst/>
            <a:ahLst/>
            <a:cxnLst/>
            <a:rect l="l" t="t" r="r" b="b"/>
            <a:pathLst>
              <a:path w="516890" h="610869">
                <a:moveTo>
                  <a:pt x="230985" y="92139"/>
                </a:moveTo>
                <a:lnTo>
                  <a:pt x="21509" y="92139"/>
                </a:lnTo>
                <a:lnTo>
                  <a:pt x="21509" y="26239"/>
                </a:lnTo>
                <a:lnTo>
                  <a:pt x="328590" y="26239"/>
                </a:lnTo>
                <a:lnTo>
                  <a:pt x="328590" y="35392"/>
                </a:lnTo>
                <a:lnTo>
                  <a:pt x="276265" y="35392"/>
                </a:lnTo>
                <a:lnTo>
                  <a:pt x="230985" y="92139"/>
                </a:lnTo>
                <a:close/>
              </a:path>
              <a:path w="516890" h="610869">
                <a:moveTo>
                  <a:pt x="183363" y="257807"/>
                </a:moveTo>
                <a:lnTo>
                  <a:pt x="127922" y="221303"/>
                </a:lnTo>
                <a:lnTo>
                  <a:pt x="276265" y="35392"/>
                </a:lnTo>
                <a:lnTo>
                  <a:pt x="296554" y="92139"/>
                </a:lnTo>
                <a:lnTo>
                  <a:pt x="315453" y="92139"/>
                </a:lnTo>
                <a:lnTo>
                  <a:pt x="219000" y="213111"/>
                </a:lnTo>
                <a:lnTo>
                  <a:pt x="175583" y="213111"/>
                </a:lnTo>
                <a:lnTo>
                  <a:pt x="214845" y="215523"/>
                </a:lnTo>
                <a:lnTo>
                  <a:pt x="216755" y="215927"/>
                </a:lnTo>
                <a:lnTo>
                  <a:pt x="183363" y="257807"/>
                </a:lnTo>
                <a:close/>
              </a:path>
              <a:path w="516890" h="610869">
                <a:moveTo>
                  <a:pt x="315453" y="92139"/>
                </a:moveTo>
                <a:lnTo>
                  <a:pt x="296554" y="92139"/>
                </a:lnTo>
                <a:lnTo>
                  <a:pt x="276265" y="35392"/>
                </a:lnTo>
                <a:lnTo>
                  <a:pt x="328590" y="35392"/>
                </a:lnTo>
                <a:lnTo>
                  <a:pt x="328590" y="75664"/>
                </a:lnTo>
                <a:lnTo>
                  <a:pt x="315453" y="92139"/>
                </a:lnTo>
                <a:close/>
              </a:path>
              <a:path w="516890" h="610869">
                <a:moveTo>
                  <a:pt x="127922" y="221303"/>
                </a:moveTo>
                <a:lnTo>
                  <a:pt x="115479" y="213111"/>
                </a:lnTo>
                <a:lnTo>
                  <a:pt x="134459" y="213111"/>
                </a:lnTo>
                <a:lnTo>
                  <a:pt x="127922" y="221303"/>
                </a:lnTo>
                <a:close/>
              </a:path>
              <a:path w="516890" h="610869">
                <a:moveTo>
                  <a:pt x="216755" y="215927"/>
                </a:moveTo>
                <a:lnTo>
                  <a:pt x="214845" y="215523"/>
                </a:lnTo>
                <a:lnTo>
                  <a:pt x="175583" y="213111"/>
                </a:lnTo>
                <a:lnTo>
                  <a:pt x="219000" y="213111"/>
                </a:lnTo>
                <a:lnTo>
                  <a:pt x="216755" y="215927"/>
                </a:lnTo>
                <a:close/>
              </a:path>
              <a:path w="516890" h="610869">
                <a:moveTo>
                  <a:pt x="307787" y="257807"/>
                </a:moveTo>
                <a:lnTo>
                  <a:pt x="183363" y="257807"/>
                </a:lnTo>
                <a:lnTo>
                  <a:pt x="216755" y="215927"/>
                </a:lnTo>
                <a:lnTo>
                  <a:pt x="249035" y="222759"/>
                </a:lnTo>
                <a:lnTo>
                  <a:pt x="278153" y="234820"/>
                </a:lnTo>
                <a:lnTo>
                  <a:pt x="302199" y="251705"/>
                </a:lnTo>
                <a:lnTo>
                  <a:pt x="307787" y="257807"/>
                </a:lnTo>
                <a:close/>
              </a:path>
              <a:path w="516890" h="610869">
                <a:moveTo>
                  <a:pt x="324491" y="426069"/>
                </a:moveTo>
                <a:lnTo>
                  <a:pt x="173753" y="426069"/>
                </a:lnTo>
                <a:lnTo>
                  <a:pt x="197064" y="424801"/>
                </a:lnTo>
                <a:lnTo>
                  <a:pt x="217267" y="420996"/>
                </a:lnTo>
                <a:lnTo>
                  <a:pt x="259268" y="394720"/>
                </a:lnTo>
                <a:lnTo>
                  <a:pt x="273214" y="351625"/>
                </a:lnTo>
                <a:lnTo>
                  <a:pt x="271698" y="335540"/>
                </a:lnTo>
                <a:lnTo>
                  <a:pt x="248959" y="297470"/>
                </a:lnTo>
                <a:lnTo>
                  <a:pt x="194385" y="278306"/>
                </a:lnTo>
                <a:lnTo>
                  <a:pt x="168108" y="277028"/>
                </a:lnTo>
                <a:lnTo>
                  <a:pt x="123869" y="277028"/>
                </a:lnTo>
                <a:lnTo>
                  <a:pt x="123869" y="226382"/>
                </a:lnTo>
                <a:lnTo>
                  <a:pt x="127922" y="221303"/>
                </a:lnTo>
                <a:lnTo>
                  <a:pt x="183363" y="257807"/>
                </a:lnTo>
                <a:lnTo>
                  <a:pt x="307787" y="257807"/>
                </a:lnTo>
                <a:lnTo>
                  <a:pt x="321086" y="272328"/>
                </a:lnTo>
                <a:lnTo>
                  <a:pt x="334577" y="295754"/>
                </a:lnTo>
                <a:lnTo>
                  <a:pt x="342672" y="321982"/>
                </a:lnTo>
                <a:lnTo>
                  <a:pt x="345370" y="351014"/>
                </a:lnTo>
                <a:lnTo>
                  <a:pt x="344159" y="370674"/>
                </a:lnTo>
                <a:lnTo>
                  <a:pt x="340527" y="389380"/>
                </a:lnTo>
                <a:lnTo>
                  <a:pt x="334472" y="407133"/>
                </a:lnTo>
                <a:lnTo>
                  <a:pt x="325996" y="423933"/>
                </a:lnTo>
                <a:lnTo>
                  <a:pt x="324491" y="426069"/>
                </a:lnTo>
                <a:close/>
              </a:path>
              <a:path w="516890" h="610869">
                <a:moveTo>
                  <a:pt x="173753" y="493343"/>
                </a:moveTo>
                <a:lnTo>
                  <a:pt x="125280" y="489300"/>
                </a:lnTo>
                <a:lnTo>
                  <a:pt x="79325" y="477173"/>
                </a:lnTo>
                <a:lnTo>
                  <a:pt x="37221" y="456235"/>
                </a:lnTo>
                <a:lnTo>
                  <a:pt x="0" y="426069"/>
                </a:lnTo>
                <a:lnTo>
                  <a:pt x="35848" y="367338"/>
                </a:lnTo>
                <a:lnTo>
                  <a:pt x="51327" y="382096"/>
                </a:lnTo>
                <a:lnTo>
                  <a:pt x="67350" y="394720"/>
                </a:lnTo>
                <a:lnTo>
                  <a:pt x="117405" y="418603"/>
                </a:lnTo>
                <a:lnTo>
                  <a:pt x="173753" y="426069"/>
                </a:lnTo>
                <a:lnTo>
                  <a:pt x="324491" y="426069"/>
                </a:lnTo>
                <a:lnTo>
                  <a:pt x="315118" y="439369"/>
                </a:lnTo>
                <a:lnTo>
                  <a:pt x="286210" y="464921"/>
                </a:lnTo>
                <a:lnTo>
                  <a:pt x="247863" y="483046"/>
                </a:lnTo>
                <a:lnTo>
                  <a:pt x="200649" y="492199"/>
                </a:lnTo>
                <a:lnTo>
                  <a:pt x="173753" y="493343"/>
                </a:lnTo>
                <a:close/>
              </a:path>
              <a:path w="516890" h="610869">
                <a:moveTo>
                  <a:pt x="437650" y="610805"/>
                </a:moveTo>
                <a:lnTo>
                  <a:pt x="365495" y="610805"/>
                </a:lnTo>
                <a:lnTo>
                  <a:pt x="387500" y="570427"/>
                </a:lnTo>
                <a:lnTo>
                  <a:pt x="405615" y="531518"/>
                </a:lnTo>
                <a:lnTo>
                  <a:pt x="419840" y="494077"/>
                </a:lnTo>
                <a:lnTo>
                  <a:pt x="437517" y="422131"/>
                </a:lnTo>
                <a:lnTo>
                  <a:pt x="445907" y="345780"/>
                </a:lnTo>
                <a:lnTo>
                  <a:pt x="446956" y="305403"/>
                </a:lnTo>
                <a:lnTo>
                  <a:pt x="445907" y="265025"/>
                </a:lnTo>
                <a:lnTo>
                  <a:pt x="442761" y="226115"/>
                </a:lnTo>
                <a:lnTo>
                  <a:pt x="430175" y="152701"/>
                </a:lnTo>
                <a:lnTo>
                  <a:pt x="405615" y="79287"/>
                </a:lnTo>
                <a:lnTo>
                  <a:pt x="387500" y="40378"/>
                </a:lnTo>
                <a:lnTo>
                  <a:pt x="365495" y="0"/>
                </a:lnTo>
                <a:lnTo>
                  <a:pt x="437498" y="0"/>
                </a:lnTo>
                <a:lnTo>
                  <a:pt x="472851" y="66778"/>
                </a:lnTo>
                <a:lnTo>
                  <a:pt x="486495" y="102770"/>
                </a:lnTo>
                <a:lnTo>
                  <a:pt x="497450" y="140497"/>
                </a:lnTo>
                <a:lnTo>
                  <a:pt x="505859" y="179693"/>
                </a:lnTo>
                <a:lnTo>
                  <a:pt x="511865" y="220242"/>
                </a:lnTo>
                <a:lnTo>
                  <a:pt x="515469" y="262146"/>
                </a:lnTo>
                <a:lnTo>
                  <a:pt x="516671" y="305403"/>
                </a:lnTo>
                <a:lnTo>
                  <a:pt x="515548" y="345780"/>
                </a:lnTo>
                <a:lnTo>
                  <a:pt x="515469" y="348622"/>
                </a:lnTo>
                <a:lnTo>
                  <a:pt x="511865" y="390411"/>
                </a:lnTo>
                <a:lnTo>
                  <a:pt x="505859" y="430769"/>
                </a:lnTo>
                <a:lnTo>
                  <a:pt x="497450" y="469698"/>
                </a:lnTo>
                <a:lnTo>
                  <a:pt x="486504" y="507177"/>
                </a:lnTo>
                <a:lnTo>
                  <a:pt x="472889" y="543188"/>
                </a:lnTo>
                <a:lnTo>
                  <a:pt x="456604" y="577731"/>
                </a:lnTo>
                <a:lnTo>
                  <a:pt x="437650" y="610805"/>
                </a:lnTo>
                <a:close/>
              </a:path>
            </a:pathLst>
          </a:custGeom>
          <a:solidFill>
            <a:srgbClr val="FFBC0E"/>
          </a:solidFill>
        </p:spPr>
        <p:txBody>
          <a:bodyPr wrap="square" lIns="0" tIns="0" rIns="0" bIns="0" rtlCol="0"/>
          <a:lstStyle/>
          <a:p>
            <a:endParaRPr sz="1915"/>
          </a:p>
        </p:txBody>
      </p:sp>
      <p:sp>
        <p:nvSpPr>
          <p:cNvPr id="2" name="Holder 2"/>
          <p:cNvSpPr>
            <a:spLocks noGrp="1"/>
          </p:cNvSpPr>
          <p:nvPr>
            <p:ph type="title"/>
          </p:nvPr>
        </p:nvSpPr>
        <p:spPr>
          <a:xfrm>
            <a:off x="894939" y="2456542"/>
            <a:ext cx="9262157" cy="409343"/>
          </a:xfrm>
        </p:spPr>
        <p:txBody>
          <a:bodyPr lIns="0" tIns="0" rIns="0" bIns="0"/>
          <a:lstStyle>
            <a:lvl1pPr>
              <a:defRPr sz="2660" b="0" i="0">
                <a:solidFill>
                  <a:schemeClr val="bg1"/>
                </a:solidFill>
                <a:latin typeface="Source Serif Pro"/>
                <a:cs typeface="Source Serif Pro"/>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5/2025</a:t>
            </a:fld>
            <a:endParaRPr lang="en-US"/>
          </a:p>
        </p:txBody>
      </p:sp>
      <p:sp>
        <p:nvSpPr>
          <p:cNvPr id="5" name="Holder 5"/>
          <p:cNvSpPr>
            <a:spLocks noGrp="1"/>
          </p:cNvSpPr>
          <p:nvPr>
            <p:ph type="sldNum" sz="quarter" idx="7"/>
          </p:nvPr>
        </p:nvSpPr>
        <p:spPr/>
        <p:txBody>
          <a:bodyPr lIns="0" tIns="0" rIns="0" bIns="0"/>
          <a:lstStyle>
            <a:lvl1pPr>
              <a:defRPr sz="1277" b="0" i="0">
                <a:solidFill>
                  <a:schemeClr val="bg1"/>
                </a:solidFill>
                <a:latin typeface="Source Serif Pro"/>
                <a:cs typeface="Source Serif Pro"/>
              </a:defRPr>
            </a:lvl1pPr>
          </a:lstStyle>
          <a:p>
            <a:pPr marL="13513">
              <a:spcBef>
                <a:spcPts val="160"/>
              </a:spcBef>
            </a:pPr>
            <a:fld id="{81D60167-4931-47E6-BA6A-407CBD079E47}" type="slidenum">
              <a:rPr lang="en-US" spc="-74" smtClean="0"/>
              <a:pPr marL="13513">
                <a:spcBef>
                  <a:spcPts val="160"/>
                </a:spcBef>
              </a:pPr>
              <a:t>‹#›</a:t>
            </a:fld>
            <a:endParaRPr lang="en-US" spc="-74" dirty="0"/>
          </a:p>
        </p:txBody>
      </p:sp>
    </p:spTree>
    <p:extLst>
      <p:ext uri="{BB962C8B-B14F-4D97-AF65-F5344CB8AC3E}">
        <p14:creationId xmlns:p14="http://schemas.microsoft.com/office/powerpoint/2010/main" val="26819813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dirty="0"/>
          </a:p>
        </p:txBody>
      </p:sp>
      <p:sp>
        <p:nvSpPr>
          <p:cNvPr id="3" name="Holder 3"/>
          <p:cNvSpPr>
            <a:spLocks noGrp="1"/>
          </p:cNvSpPr>
          <p:nvPr>
            <p:ph type="dt" sz="half" idx="6"/>
          </p:nvPr>
        </p:nvSpPr>
        <p:spPr>
          <a:xfrm>
            <a:off x="609600" y="6377940"/>
            <a:ext cx="2804160" cy="276999"/>
          </a:xfrm>
        </p:spPr>
        <p:txBody>
          <a:bodyPr lIns="0" tIns="0" rIns="0" bIns="0"/>
          <a:lstStyle>
            <a:lvl1pPr algn="l">
              <a:defRPr>
                <a:solidFill>
                  <a:schemeClr val="bg2"/>
                </a:solidFill>
              </a:defRPr>
            </a:lvl1pPr>
          </a:lstStyle>
          <a:p>
            <a:fld id="{1D8BD707-D9CF-40AE-B4C6-C98DA3205C09}" type="datetimeFigureOut">
              <a:rPr lang="en-US" smtClean="0"/>
              <a:pPr/>
              <a:t>11/5/2025</a:t>
            </a:fld>
            <a:endParaRPr lang="en-US" dirty="0"/>
          </a:p>
        </p:txBody>
      </p:sp>
      <p:sp>
        <p:nvSpPr>
          <p:cNvPr id="4" name="Holder 4"/>
          <p:cNvSpPr>
            <a:spLocks noGrp="1"/>
          </p:cNvSpPr>
          <p:nvPr>
            <p:ph type="sldNum" sz="quarter" idx="7"/>
          </p:nvPr>
        </p:nvSpPr>
        <p:spPr/>
        <p:txBody>
          <a:bodyPr lIns="0" tIns="0" rIns="0" bIns="0"/>
          <a:lstStyle>
            <a:lvl1pPr>
              <a:defRPr sz="1277" b="0" i="0">
                <a:solidFill>
                  <a:schemeClr val="bg1"/>
                </a:solidFill>
                <a:latin typeface="Source Serif Pro"/>
                <a:cs typeface="Source Serif Pro"/>
              </a:defRPr>
            </a:lvl1pPr>
          </a:lstStyle>
          <a:p>
            <a:pPr marL="13513">
              <a:spcBef>
                <a:spcPts val="160"/>
              </a:spcBef>
            </a:pPr>
            <a:fld id="{81D60167-4931-47E6-BA6A-407CBD079E47}" type="slidenum">
              <a:rPr lang="en-US" spc="-74" smtClean="0"/>
              <a:pPr marL="13513">
                <a:spcBef>
                  <a:spcPts val="160"/>
                </a:spcBef>
              </a:pPr>
              <a:t>‹#›</a:t>
            </a:fld>
            <a:endParaRPr lang="en-US" spc="-74" dirty="0"/>
          </a:p>
        </p:txBody>
      </p:sp>
    </p:spTree>
    <p:extLst>
      <p:ext uri="{BB962C8B-B14F-4D97-AF65-F5344CB8AC3E}">
        <p14:creationId xmlns:p14="http://schemas.microsoft.com/office/powerpoint/2010/main" val="273940045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Just Title">
    <p:spTree>
      <p:nvGrpSpPr>
        <p:cNvPr id="1" name=""/>
        <p:cNvGrpSpPr/>
        <p:nvPr/>
      </p:nvGrpSpPr>
      <p:grpSpPr>
        <a:xfrm>
          <a:off x="0" y="0"/>
          <a:ext cx="0" cy="0"/>
          <a:chOff x="0" y="0"/>
          <a:chExt cx="0" cy="0"/>
        </a:xfrm>
      </p:grpSpPr>
      <p:sp>
        <p:nvSpPr>
          <p:cNvPr id="3" name="Do not remove" hidden="1">
            <a:extLst>
              <a:ext uri="{FF2B5EF4-FFF2-40B4-BE49-F238E27FC236}">
                <a16:creationId xmlns:a16="http://schemas.microsoft.com/office/drawing/2014/main" id="{50E39891-862B-8647-B18C-4208679B709B}"/>
              </a:ext>
            </a:extLst>
          </p:cNvPr>
          <p:cNvSpPr/>
          <p:nvPr userDrawn="1">
            <p:custDataLst>
              <p:tags r:id="rId1"/>
            </p:custDataLst>
          </p:nvPr>
        </p:nvSpPr>
        <p:spPr>
          <a:xfrm>
            <a:off x="0" y="0"/>
            <a:ext cx="12700" cy="12700"/>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itle Placeholder 1">
            <a:extLst>
              <a:ext uri="{FF2B5EF4-FFF2-40B4-BE49-F238E27FC236}">
                <a16:creationId xmlns:a16="http://schemas.microsoft.com/office/drawing/2014/main" id="{22B15404-7F70-C35C-4398-260DE9E4CFF6}"/>
              </a:ext>
            </a:extLst>
          </p:cNvPr>
          <p:cNvSpPr>
            <a:spLocks noGrp="1"/>
          </p:cNvSpPr>
          <p:nvPr>
            <p:ph type="title"/>
          </p:nvPr>
        </p:nvSpPr>
        <p:spPr>
          <a:xfrm>
            <a:off x="930949" y="0"/>
            <a:ext cx="11010898" cy="1229360"/>
          </a:xfrm>
          <a:prstGeom prst="rect">
            <a:avLst/>
          </a:prstGeom>
        </p:spPr>
        <p:txBody>
          <a:bodyPr vert="horz" lIns="91440" tIns="45720" rIns="91440" bIns="45720" rtlCol="0" anchor="b" anchorCtr="0">
            <a:noAutofit/>
          </a:bodyPr>
          <a:lstStyle/>
          <a:p>
            <a:r>
              <a:rPr lang="en-US" dirty="0"/>
              <a:t>Click to edit Master title style</a:t>
            </a:r>
          </a:p>
        </p:txBody>
      </p:sp>
      <p:sp>
        <p:nvSpPr>
          <p:cNvPr id="8" name="Slide Number Placeholder 5">
            <a:extLst>
              <a:ext uri="{FF2B5EF4-FFF2-40B4-BE49-F238E27FC236}">
                <a16:creationId xmlns:a16="http://schemas.microsoft.com/office/drawing/2014/main" id="{F9775B87-32A1-2349-B522-B8971437155E}"/>
              </a:ext>
            </a:extLst>
          </p:cNvPr>
          <p:cNvSpPr>
            <a:spLocks noGrp="1"/>
          </p:cNvSpPr>
          <p:nvPr>
            <p:ph type="sldNum" sz="quarter" idx="4"/>
          </p:nvPr>
        </p:nvSpPr>
        <p:spPr>
          <a:xfrm>
            <a:off x="81184" y="6356350"/>
            <a:ext cx="561531" cy="365125"/>
          </a:xfrm>
          <a:prstGeom prst="rect">
            <a:avLst/>
          </a:prstGeom>
          <a:noFill/>
        </p:spPr>
        <p:txBody>
          <a:bodyPr vert="horz" lIns="91440" tIns="45720" rIns="91440" bIns="45720" rtlCol="0" anchor="ctr"/>
          <a:lstStyle>
            <a:lvl1pPr algn="ctr">
              <a:defRPr sz="1000" b="0" i="0">
                <a:solidFill>
                  <a:schemeClr val="accent4"/>
                </a:solidFill>
                <a:latin typeface="+mn-lt"/>
                <a:ea typeface="Proxima Nova" panose="02000506030000020004" pitchFamily="2" charset="0"/>
              </a:defRPr>
            </a:lvl1pPr>
          </a:lstStyle>
          <a:p>
            <a:fld id="{C7A983BE-7EA6-6040-8977-022E498C0605}" type="slidenum">
              <a:rPr lang="en-US" smtClean="0"/>
              <a:pPr/>
              <a:t>‹#›</a:t>
            </a:fld>
            <a:endParaRPr lang="en-US" dirty="0"/>
          </a:p>
        </p:txBody>
      </p:sp>
    </p:spTree>
    <p:extLst>
      <p:ext uri="{BB962C8B-B14F-4D97-AF65-F5344CB8AC3E}">
        <p14:creationId xmlns:p14="http://schemas.microsoft.com/office/powerpoint/2010/main" val="60877531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Divider/Section Slide">
    <p:bg>
      <p:bgPr>
        <a:solidFill>
          <a:schemeClr val="tx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A1B00CD-591C-0374-772F-1980EAA2B22C}"/>
              </a:ext>
            </a:extLst>
          </p:cNvPr>
          <p:cNvSpPr>
            <a:spLocks noGrp="1"/>
          </p:cNvSpPr>
          <p:nvPr>
            <p:ph type="title" hasCustomPrompt="1"/>
          </p:nvPr>
        </p:nvSpPr>
        <p:spPr>
          <a:xfrm>
            <a:off x="903892" y="1340070"/>
            <a:ext cx="10784928" cy="2720181"/>
          </a:xfrm>
        </p:spPr>
        <p:txBody>
          <a:bodyPr/>
          <a:lstStyle>
            <a:lvl1pPr>
              <a:defRPr sz="4000" b="1" i="0">
                <a:solidFill>
                  <a:schemeClr val="bg1"/>
                </a:solidFill>
                <a:latin typeface="+mj-lt"/>
              </a:defRPr>
            </a:lvl1pPr>
          </a:lstStyle>
          <a:p>
            <a:r>
              <a:rPr lang="en-US" dirty="0"/>
              <a:t>Click to edit Master section style</a:t>
            </a:r>
          </a:p>
        </p:txBody>
      </p:sp>
    </p:spTree>
    <p:extLst>
      <p:ext uri="{BB962C8B-B14F-4D97-AF65-F5344CB8AC3E}">
        <p14:creationId xmlns:p14="http://schemas.microsoft.com/office/powerpoint/2010/main" val="25084754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One Column">
    <p:spTree>
      <p:nvGrpSpPr>
        <p:cNvPr id="1" name=""/>
        <p:cNvGrpSpPr/>
        <p:nvPr/>
      </p:nvGrpSpPr>
      <p:grpSpPr>
        <a:xfrm>
          <a:off x="0" y="0"/>
          <a:ext cx="0" cy="0"/>
          <a:chOff x="0" y="0"/>
          <a:chExt cx="0" cy="0"/>
        </a:xfrm>
      </p:grpSpPr>
      <p:sp>
        <p:nvSpPr>
          <p:cNvPr id="3" name="Do not remove" hidden="1">
            <a:extLst>
              <a:ext uri="{FF2B5EF4-FFF2-40B4-BE49-F238E27FC236}">
                <a16:creationId xmlns:a16="http://schemas.microsoft.com/office/drawing/2014/main" id="{9E300911-46D7-C25A-785C-906B8D47CC55}"/>
              </a:ext>
            </a:extLst>
          </p:cNvPr>
          <p:cNvSpPr/>
          <p:nvPr userDrawn="1">
            <p:custDataLst>
              <p:tags r:id="rId1"/>
            </p:custDataLst>
          </p:nvPr>
        </p:nvSpPr>
        <p:spPr>
          <a:xfrm>
            <a:off x="0" y="0"/>
            <a:ext cx="12700" cy="12700"/>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Text Placeholder 10">
            <a:extLst>
              <a:ext uri="{FF2B5EF4-FFF2-40B4-BE49-F238E27FC236}">
                <a16:creationId xmlns:a16="http://schemas.microsoft.com/office/drawing/2014/main" id="{AE3A7084-66B7-FCB0-C22F-16A7F0E98554}"/>
              </a:ext>
            </a:extLst>
          </p:cNvPr>
          <p:cNvSpPr>
            <a:spLocks noGrp="1"/>
          </p:cNvSpPr>
          <p:nvPr>
            <p:ph type="body" sz="quarter" idx="10"/>
          </p:nvPr>
        </p:nvSpPr>
        <p:spPr>
          <a:xfrm>
            <a:off x="977463" y="1280948"/>
            <a:ext cx="10964384" cy="461554"/>
          </a:xfrm>
          <a:prstGeom prst="rect">
            <a:avLst/>
          </a:prstGeom>
        </p:spPr>
        <p:txBody>
          <a:bodyPr tIns="0" bIns="0">
            <a:noAutofit/>
          </a:bodyPr>
          <a:lstStyle>
            <a:lvl1pPr marL="0" indent="0">
              <a:buNone/>
              <a:defRPr sz="1400" b="0" i="0">
                <a:solidFill>
                  <a:schemeClr val="tx1"/>
                </a:solidFill>
                <a:latin typeface="+mn-lt"/>
              </a:defRPr>
            </a:lvl1pPr>
          </a:lstStyle>
          <a:p>
            <a:pPr lvl="0"/>
            <a:r>
              <a:rPr lang="en-US" dirty="0"/>
              <a:t>Click to edit Master text styles</a:t>
            </a:r>
          </a:p>
        </p:txBody>
      </p:sp>
      <p:sp>
        <p:nvSpPr>
          <p:cNvPr id="2" name="Slide Number Placeholder 5">
            <a:extLst>
              <a:ext uri="{FF2B5EF4-FFF2-40B4-BE49-F238E27FC236}">
                <a16:creationId xmlns:a16="http://schemas.microsoft.com/office/drawing/2014/main" id="{3BBDF01D-68E6-55BE-DE8C-661D450994CE}"/>
              </a:ext>
            </a:extLst>
          </p:cNvPr>
          <p:cNvSpPr>
            <a:spLocks noGrp="1"/>
          </p:cNvSpPr>
          <p:nvPr>
            <p:ph type="sldNum" sz="quarter" idx="4"/>
          </p:nvPr>
        </p:nvSpPr>
        <p:spPr>
          <a:xfrm>
            <a:off x="81184" y="6356350"/>
            <a:ext cx="561531" cy="365125"/>
          </a:xfrm>
          <a:prstGeom prst="rect">
            <a:avLst/>
          </a:prstGeom>
          <a:noFill/>
        </p:spPr>
        <p:txBody>
          <a:bodyPr vert="horz" lIns="91440" tIns="45720" rIns="91440" bIns="45720" rtlCol="0" anchor="ctr"/>
          <a:lstStyle>
            <a:lvl1pPr algn="ctr">
              <a:defRPr sz="1000" b="0" i="0">
                <a:solidFill>
                  <a:schemeClr val="accent4"/>
                </a:solidFill>
                <a:latin typeface="+mn-lt"/>
                <a:ea typeface="Proxima Nova" panose="02000506030000020004" pitchFamily="2" charset="0"/>
              </a:defRPr>
            </a:lvl1pPr>
          </a:lstStyle>
          <a:p>
            <a:fld id="{C7A983BE-7EA6-6040-8977-022E498C0605}" type="slidenum">
              <a:rPr lang="en-US" smtClean="0"/>
              <a:pPr/>
              <a:t>‹#›</a:t>
            </a:fld>
            <a:endParaRPr lang="en-US" dirty="0"/>
          </a:p>
        </p:txBody>
      </p:sp>
      <p:sp>
        <p:nvSpPr>
          <p:cNvPr id="5" name="Title Placeholder 1">
            <a:extLst>
              <a:ext uri="{FF2B5EF4-FFF2-40B4-BE49-F238E27FC236}">
                <a16:creationId xmlns:a16="http://schemas.microsoft.com/office/drawing/2014/main" id="{330A172A-494B-07A2-6E87-D9A3A299785E}"/>
              </a:ext>
            </a:extLst>
          </p:cNvPr>
          <p:cNvSpPr>
            <a:spLocks noGrp="1"/>
          </p:cNvSpPr>
          <p:nvPr>
            <p:ph type="title"/>
          </p:nvPr>
        </p:nvSpPr>
        <p:spPr>
          <a:xfrm>
            <a:off x="930949" y="0"/>
            <a:ext cx="11010898" cy="1229360"/>
          </a:xfrm>
          <a:prstGeom prst="rect">
            <a:avLst/>
          </a:prstGeom>
        </p:spPr>
        <p:txBody>
          <a:bodyPr vert="horz" lIns="91440" tIns="45720" rIns="91440" bIns="45720" rtlCol="0" anchor="b" anchorCtr="0">
            <a:noAutofit/>
          </a:bodyPr>
          <a:lstStyle/>
          <a:p>
            <a:r>
              <a:rPr lang="en-US" dirty="0"/>
              <a:t>Click to edit Master title style</a:t>
            </a:r>
          </a:p>
        </p:txBody>
      </p:sp>
      <p:sp>
        <p:nvSpPr>
          <p:cNvPr id="13" name="Text Placeholder 12">
            <a:extLst>
              <a:ext uri="{FF2B5EF4-FFF2-40B4-BE49-F238E27FC236}">
                <a16:creationId xmlns:a16="http://schemas.microsoft.com/office/drawing/2014/main" id="{CB84A194-1B99-B4AE-372B-274BD2069E1F}"/>
              </a:ext>
            </a:extLst>
          </p:cNvPr>
          <p:cNvSpPr>
            <a:spLocks noGrp="1"/>
          </p:cNvSpPr>
          <p:nvPr>
            <p:ph type="body" sz="quarter" idx="11"/>
          </p:nvPr>
        </p:nvSpPr>
        <p:spPr>
          <a:xfrm>
            <a:off x="1005840" y="1828800"/>
            <a:ext cx="10936007" cy="4286797"/>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4044492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wo Column">
    <p:spTree>
      <p:nvGrpSpPr>
        <p:cNvPr id="1" name=""/>
        <p:cNvGrpSpPr/>
        <p:nvPr/>
      </p:nvGrpSpPr>
      <p:grpSpPr>
        <a:xfrm>
          <a:off x="0" y="0"/>
          <a:ext cx="0" cy="0"/>
          <a:chOff x="0" y="0"/>
          <a:chExt cx="0" cy="0"/>
        </a:xfrm>
      </p:grpSpPr>
      <p:sp>
        <p:nvSpPr>
          <p:cNvPr id="3" name="Do not remove" hidden="1">
            <a:extLst>
              <a:ext uri="{FF2B5EF4-FFF2-40B4-BE49-F238E27FC236}">
                <a16:creationId xmlns:a16="http://schemas.microsoft.com/office/drawing/2014/main" id="{9E300911-46D7-C25A-785C-906B8D47CC55}"/>
              </a:ext>
            </a:extLst>
          </p:cNvPr>
          <p:cNvSpPr/>
          <p:nvPr userDrawn="1">
            <p:custDataLst>
              <p:tags r:id="rId1"/>
            </p:custDataLst>
          </p:nvPr>
        </p:nvSpPr>
        <p:spPr>
          <a:xfrm>
            <a:off x="0" y="0"/>
            <a:ext cx="12700" cy="12700"/>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ext Placeholder 10">
            <a:extLst>
              <a:ext uri="{FF2B5EF4-FFF2-40B4-BE49-F238E27FC236}">
                <a16:creationId xmlns:a16="http://schemas.microsoft.com/office/drawing/2014/main" id="{DC9E6176-6522-A0AB-4889-0C54A2E6142F}"/>
              </a:ext>
            </a:extLst>
          </p:cNvPr>
          <p:cNvSpPr>
            <a:spLocks noGrp="1"/>
          </p:cNvSpPr>
          <p:nvPr>
            <p:ph type="body" sz="quarter" idx="10"/>
          </p:nvPr>
        </p:nvSpPr>
        <p:spPr>
          <a:xfrm>
            <a:off x="977463" y="1280948"/>
            <a:ext cx="10964384" cy="461554"/>
          </a:xfrm>
          <a:prstGeom prst="rect">
            <a:avLst/>
          </a:prstGeom>
        </p:spPr>
        <p:txBody>
          <a:bodyPr tIns="0" bIns="0">
            <a:noAutofit/>
          </a:bodyPr>
          <a:lstStyle>
            <a:lvl1pPr marL="0" indent="0">
              <a:buNone/>
              <a:defRPr sz="1400" b="0" i="0">
                <a:solidFill>
                  <a:schemeClr val="tx1"/>
                </a:solidFill>
                <a:latin typeface="+mn-lt"/>
              </a:defRPr>
            </a:lvl1pPr>
          </a:lstStyle>
          <a:p>
            <a:pPr lvl="0"/>
            <a:r>
              <a:rPr lang="en-US" dirty="0"/>
              <a:t>Click to edit Master text styles</a:t>
            </a:r>
          </a:p>
        </p:txBody>
      </p:sp>
      <p:sp>
        <p:nvSpPr>
          <p:cNvPr id="4" name="Title Placeholder 1">
            <a:extLst>
              <a:ext uri="{FF2B5EF4-FFF2-40B4-BE49-F238E27FC236}">
                <a16:creationId xmlns:a16="http://schemas.microsoft.com/office/drawing/2014/main" id="{D55FC8B5-97E5-A86A-211C-EC9F4A0A1CDB}"/>
              </a:ext>
            </a:extLst>
          </p:cNvPr>
          <p:cNvSpPr>
            <a:spLocks noGrp="1"/>
          </p:cNvSpPr>
          <p:nvPr>
            <p:ph type="title"/>
          </p:nvPr>
        </p:nvSpPr>
        <p:spPr>
          <a:xfrm>
            <a:off x="930949" y="0"/>
            <a:ext cx="11010898" cy="1229360"/>
          </a:xfrm>
          <a:prstGeom prst="rect">
            <a:avLst/>
          </a:prstGeom>
        </p:spPr>
        <p:txBody>
          <a:bodyPr vert="horz" lIns="91440" tIns="45720" rIns="91440" bIns="45720" rtlCol="0" anchor="b" anchorCtr="0">
            <a:noAutofit/>
          </a:bodyPr>
          <a:lstStyle/>
          <a:p>
            <a:r>
              <a:rPr lang="en-US" dirty="0"/>
              <a:t>Click to edit Master title style</a:t>
            </a:r>
          </a:p>
        </p:txBody>
      </p:sp>
      <p:sp>
        <p:nvSpPr>
          <p:cNvPr id="11" name="Slide Number Placeholder 5">
            <a:extLst>
              <a:ext uri="{FF2B5EF4-FFF2-40B4-BE49-F238E27FC236}">
                <a16:creationId xmlns:a16="http://schemas.microsoft.com/office/drawing/2014/main" id="{EF4D55D8-640D-E2A7-681E-4853B9FECDCB}"/>
              </a:ext>
            </a:extLst>
          </p:cNvPr>
          <p:cNvSpPr>
            <a:spLocks noGrp="1"/>
          </p:cNvSpPr>
          <p:nvPr>
            <p:ph type="sldNum" sz="quarter" idx="4"/>
          </p:nvPr>
        </p:nvSpPr>
        <p:spPr>
          <a:xfrm>
            <a:off x="81184" y="6356350"/>
            <a:ext cx="561531" cy="365125"/>
          </a:xfrm>
          <a:prstGeom prst="rect">
            <a:avLst/>
          </a:prstGeom>
          <a:noFill/>
        </p:spPr>
        <p:txBody>
          <a:bodyPr vert="horz" lIns="91440" tIns="45720" rIns="91440" bIns="45720" rtlCol="0" anchor="ctr"/>
          <a:lstStyle>
            <a:lvl1pPr algn="ctr">
              <a:defRPr sz="1000" b="0" i="0">
                <a:solidFill>
                  <a:schemeClr val="accent4"/>
                </a:solidFill>
                <a:latin typeface="+mn-lt"/>
                <a:ea typeface="Proxima Nova" panose="02000506030000020004" pitchFamily="2" charset="0"/>
              </a:defRPr>
            </a:lvl1pPr>
          </a:lstStyle>
          <a:p>
            <a:fld id="{C7A983BE-7EA6-6040-8977-022E498C0605}" type="slidenum">
              <a:rPr lang="en-US" smtClean="0"/>
              <a:pPr/>
              <a:t>‹#›</a:t>
            </a:fld>
            <a:endParaRPr lang="en-US" dirty="0"/>
          </a:p>
        </p:txBody>
      </p:sp>
      <p:sp>
        <p:nvSpPr>
          <p:cNvPr id="13" name="Text Placeholder 12">
            <a:extLst>
              <a:ext uri="{FF2B5EF4-FFF2-40B4-BE49-F238E27FC236}">
                <a16:creationId xmlns:a16="http://schemas.microsoft.com/office/drawing/2014/main" id="{CB7E1028-87D0-090F-F482-BF054940D004}"/>
              </a:ext>
            </a:extLst>
          </p:cNvPr>
          <p:cNvSpPr>
            <a:spLocks noGrp="1"/>
          </p:cNvSpPr>
          <p:nvPr>
            <p:ph type="body" sz="quarter" idx="12"/>
          </p:nvPr>
        </p:nvSpPr>
        <p:spPr>
          <a:xfrm>
            <a:off x="1005840" y="1828800"/>
            <a:ext cx="5370786" cy="42251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12">
            <a:extLst>
              <a:ext uri="{FF2B5EF4-FFF2-40B4-BE49-F238E27FC236}">
                <a16:creationId xmlns:a16="http://schemas.microsoft.com/office/drawing/2014/main" id="{9F79073D-B674-775B-4DD3-E18439A00125}"/>
              </a:ext>
            </a:extLst>
          </p:cNvPr>
          <p:cNvSpPr>
            <a:spLocks noGrp="1"/>
          </p:cNvSpPr>
          <p:nvPr>
            <p:ph type="body" sz="quarter" idx="13"/>
          </p:nvPr>
        </p:nvSpPr>
        <p:spPr>
          <a:xfrm>
            <a:off x="6589987" y="1828800"/>
            <a:ext cx="5370786" cy="42251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2637800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3.xml"/><Relationship Id="rId7" Type="http://schemas.openxmlformats.org/officeDocument/2006/relationships/slideLayout" Target="../slideLayouts/slideLayout17.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5" Type="http://schemas.openxmlformats.org/officeDocument/2006/relationships/slideLayout" Target="../slideLayouts/slideLayout15.xml"/><Relationship Id="rId4" Type="http://schemas.openxmlformats.org/officeDocument/2006/relationships/slideLayout" Target="../slideLayouts/slideLayout14.xml"/><Relationship Id="rId9"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4"/>
            <a:ext cx="12192000" cy="6841108"/>
          </a:xfrm>
          <a:custGeom>
            <a:avLst/>
            <a:gdLst/>
            <a:ahLst/>
            <a:cxnLst/>
            <a:rect l="l" t="t" r="r" b="b"/>
            <a:pathLst>
              <a:path w="10287000" h="6429375">
                <a:moveTo>
                  <a:pt x="10286999" y="6429374"/>
                </a:moveTo>
                <a:lnTo>
                  <a:pt x="0" y="6429374"/>
                </a:lnTo>
                <a:lnTo>
                  <a:pt x="0" y="0"/>
                </a:lnTo>
                <a:lnTo>
                  <a:pt x="10286999" y="0"/>
                </a:lnTo>
                <a:lnTo>
                  <a:pt x="10286999" y="6429374"/>
                </a:lnTo>
                <a:close/>
              </a:path>
            </a:pathLst>
          </a:custGeom>
          <a:solidFill>
            <a:srgbClr val="001646"/>
          </a:solidFill>
        </p:spPr>
        <p:txBody>
          <a:bodyPr wrap="square" lIns="0" tIns="0" rIns="0" bIns="0" rtlCol="0"/>
          <a:lstStyle/>
          <a:p>
            <a:endParaRPr sz="1915"/>
          </a:p>
        </p:txBody>
      </p:sp>
      <p:sp>
        <p:nvSpPr>
          <p:cNvPr id="2" name="Holder 2"/>
          <p:cNvSpPr>
            <a:spLocks noGrp="1"/>
          </p:cNvSpPr>
          <p:nvPr>
            <p:ph type="title"/>
          </p:nvPr>
        </p:nvSpPr>
        <p:spPr>
          <a:xfrm>
            <a:off x="894939" y="2456542"/>
            <a:ext cx="9262157" cy="384721"/>
          </a:xfrm>
          <a:prstGeom prst="rect">
            <a:avLst/>
          </a:prstGeom>
        </p:spPr>
        <p:txBody>
          <a:bodyPr wrap="square" lIns="0" tIns="0" rIns="0" bIns="0">
            <a:spAutoFit/>
          </a:bodyPr>
          <a:lstStyle>
            <a:lvl1pPr>
              <a:defRPr sz="2500" b="0" i="0">
                <a:solidFill>
                  <a:schemeClr val="bg1"/>
                </a:solidFill>
                <a:latin typeface="Source Serif Pro"/>
                <a:cs typeface="Source Serif Pro"/>
              </a:defRPr>
            </a:lvl1pPr>
          </a:lstStyle>
          <a:p>
            <a:endParaRPr dirty="0"/>
          </a:p>
        </p:txBody>
      </p:sp>
      <p:sp>
        <p:nvSpPr>
          <p:cNvPr id="3" name="Holder 3"/>
          <p:cNvSpPr>
            <a:spLocks noGrp="1"/>
          </p:cNvSpPr>
          <p:nvPr>
            <p:ph type="body" idx="1"/>
          </p:nvPr>
        </p:nvSpPr>
        <p:spPr>
          <a:xfrm>
            <a:off x="609600" y="1577340"/>
            <a:ext cx="10972800" cy="276999"/>
          </a:xfrm>
          <a:prstGeom prst="rect">
            <a:avLst/>
          </a:prstGeom>
        </p:spPr>
        <p:txBody>
          <a:bodyPr wrap="square" lIns="0" tIns="0" rIns="0" bIns="0">
            <a:spAutoFit/>
          </a:bodyPr>
          <a:lstStyle>
            <a:lvl1pPr>
              <a:defRPr/>
            </a:lvl1pPr>
          </a:lstStyle>
          <a:p>
            <a:endParaRPr dirty="0"/>
          </a:p>
        </p:txBody>
      </p:sp>
      <p:sp>
        <p:nvSpPr>
          <p:cNvPr id="4" name="Holder 4"/>
          <p:cNvSpPr>
            <a:spLocks noGrp="1"/>
          </p:cNvSpPr>
          <p:nvPr>
            <p:ph type="ftr" sz="quarter" idx="5"/>
          </p:nvPr>
        </p:nvSpPr>
        <p:spPr>
          <a:xfrm>
            <a:off x="4145280" y="6377940"/>
            <a:ext cx="3901440" cy="276999"/>
          </a:xfrm>
          <a:prstGeom prst="rect">
            <a:avLst/>
          </a:prstGeom>
        </p:spPr>
        <p:txBody>
          <a:bodyPr wrap="square" lIns="0" tIns="0" rIns="0" bIns="0">
            <a:spAutoFit/>
          </a:bodyPr>
          <a:lstStyle>
            <a:lvl1pPr algn="ctr">
              <a:defRPr>
                <a:solidFill>
                  <a:schemeClr val="tx2"/>
                </a:solidFill>
                <a:latin typeface="DM Serif Text" pitchFamily="2" charset="0"/>
              </a:defRPr>
            </a:lvl1pPr>
          </a:lstStyle>
          <a:p>
            <a:endParaRPr lang="en-US" dirty="0"/>
          </a:p>
        </p:txBody>
      </p:sp>
      <p:sp>
        <p:nvSpPr>
          <p:cNvPr id="5" name="Holder 5"/>
          <p:cNvSpPr>
            <a:spLocks noGrp="1"/>
          </p:cNvSpPr>
          <p:nvPr>
            <p:ph type="dt" sz="half" idx="6"/>
          </p:nvPr>
        </p:nvSpPr>
        <p:spPr>
          <a:xfrm>
            <a:off x="609600" y="6377940"/>
            <a:ext cx="2804160" cy="276999"/>
          </a:xfrm>
          <a:prstGeom prst="rect">
            <a:avLst/>
          </a:prstGeom>
        </p:spPr>
        <p:txBody>
          <a:bodyPr wrap="square" lIns="0" tIns="0" rIns="0" bIns="0">
            <a:spAutoFit/>
          </a:bodyPr>
          <a:lstStyle>
            <a:lvl1pPr algn="l">
              <a:defRPr>
                <a:solidFill>
                  <a:schemeClr val="bg2"/>
                </a:solidFill>
                <a:latin typeface="DM Serif Text" pitchFamily="2" charset="0"/>
              </a:defRPr>
            </a:lvl1pPr>
          </a:lstStyle>
          <a:p>
            <a:fld id="{1D8BD707-D9CF-40AE-B4C6-C98DA3205C09}" type="datetimeFigureOut">
              <a:rPr lang="en-US" smtClean="0"/>
              <a:pPr/>
              <a:t>11/5/2025</a:t>
            </a:fld>
            <a:endParaRPr lang="en-US" dirty="0"/>
          </a:p>
        </p:txBody>
      </p:sp>
      <p:sp>
        <p:nvSpPr>
          <p:cNvPr id="6" name="Holder 6"/>
          <p:cNvSpPr>
            <a:spLocks noGrp="1"/>
          </p:cNvSpPr>
          <p:nvPr>
            <p:ph type="sldNum" sz="quarter" idx="7"/>
          </p:nvPr>
        </p:nvSpPr>
        <p:spPr>
          <a:xfrm>
            <a:off x="11785601" y="6421330"/>
            <a:ext cx="184385" cy="196529"/>
          </a:xfrm>
          <a:prstGeom prst="rect">
            <a:avLst/>
          </a:prstGeom>
        </p:spPr>
        <p:txBody>
          <a:bodyPr wrap="square" lIns="0" tIns="0" rIns="0" bIns="0">
            <a:spAutoFit/>
          </a:bodyPr>
          <a:lstStyle>
            <a:lvl1pPr>
              <a:defRPr sz="1277" b="0" i="0">
                <a:solidFill>
                  <a:schemeClr val="bg1"/>
                </a:solidFill>
                <a:latin typeface="Source Serif Pro"/>
                <a:cs typeface="Source Serif Pro"/>
              </a:defRPr>
            </a:lvl1pPr>
          </a:lstStyle>
          <a:p>
            <a:pPr marL="13513">
              <a:spcBef>
                <a:spcPts val="160"/>
              </a:spcBef>
            </a:pPr>
            <a:fld id="{81D60167-4931-47E6-BA6A-407CBD079E47}" type="slidenum">
              <a:rPr lang="en-US" spc="-74" smtClean="0"/>
              <a:pPr marL="13513">
                <a:spcBef>
                  <a:spcPts val="160"/>
                </a:spcBef>
              </a:pPr>
              <a:t>‹#›</a:t>
            </a:fld>
            <a:endParaRPr lang="en-US" spc="-74" dirty="0"/>
          </a:p>
        </p:txBody>
      </p:sp>
      <p:pic>
        <p:nvPicPr>
          <p:cNvPr id="8" name="Picture 7" descr="A logo with white text&#10;&#10;AI-generated content may be incorrect.">
            <a:extLst>
              <a:ext uri="{FF2B5EF4-FFF2-40B4-BE49-F238E27FC236}">
                <a16:creationId xmlns:a16="http://schemas.microsoft.com/office/drawing/2014/main" id="{E8E4769C-31C2-E346-C76C-305477A3BB27}"/>
              </a:ext>
            </a:extLst>
          </p:cNvPr>
          <p:cNvPicPr>
            <a:picLocks noChangeAspect="1"/>
          </p:cNvPicPr>
          <p:nvPr userDrawn="1"/>
        </p:nvPicPr>
        <p:blipFill>
          <a:blip r:embed="rId12" cstate="print">
            <a:extLst>
              <a:ext uri="{28A0092B-C50C-407E-A947-70E740481C1C}">
                <a14:useLocalDpi xmlns:a14="http://schemas.microsoft.com/office/drawing/2010/main"/>
              </a:ext>
            </a:extLst>
          </a:blip>
          <a:stretch>
            <a:fillRect/>
          </a:stretch>
        </p:blipFill>
        <p:spPr>
          <a:xfrm>
            <a:off x="10388774" y="185323"/>
            <a:ext cx="1565407" cy="733192"/>
          </a:xfrm>
          <a:prstGeom prst="rect">
            <a:avLst/>
          </a:prstGeom>
        </p:spPr>
      </p:pic>
    </p:spTree>
    <p:extLst>
      <p:ext uri="{BB962C8B-B14F-4D97-AF65-F5344CB8AC3E}">
        <p14:creationId xmlns:p14="http://schemas.microsoft.com/office/powerpoint/2010/main" val="261757067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7" r:id="rId6"/>
    <p:sldLayoutId id="2147483668" r:id="rId7"/>
    <p:sldLayoutId id="2147483669" r:id="rId8"/>
    <p:sldLayoutId id="2147483712" r:id="rId9"/>
    <p:sldLayoutId id="2147483721" r:id="rId10"/>
  </p:sldLayoutIdLst>
  <p:txStyles>
    <p:titleStyle>
      <a:lvl1pPr>
        <a:defRPr>
          <a:latin typeface="+mj-lt"/>
          <a:ea typeface="+mj-ea"/>
          <a:cs typeface="+mj-cs"/>
        </a:defRPr>
      </a:lvl1pPr>
    </p:titleStyle>
    <p:bodyStyle>
      <a:lvl1pPr marL="0">
        <a:defRPr>
          <a:solidFill>
            <a:schemeClr val="bg2"/>
          </a:solidFill>
          <a:latin typeface="+mj-lt"/>
          <a:ea typeface="+mn-ea"/>
          <a:cs typeface="+mn-cs"/>
        </a:defRPr>
      </a:lvl1pPr>
      <a:lvl2pPr marL="486461">
        <a:defRPr>
          <a:latin typeface="+mn-lt"/>
          <a:ea typeface="+mn-ea"/>
          <a:cs typeface="+mn-cs"/>
        </a:defRPr>
      </a:lvl2pPr>
      <a:lvl3pPr marL="972922">
        <a:defRPr>
          <a:latin typeface="+mn-lt"/>
          <a:ea typeface="+mn-ea"/>
          <a:cs typeface="+mn-cs"/>
        </a:defRPr>
      </a:lvl3pPr>
      <a:lvl4pPr marL="1459382">
        <a:defRPr>
          <a:latin typeface="+mn-lt"/>
          <a:ea typeface="+mn-ea"/>
          <a:cs typeface="+mn-cs"/>
        </a:defRPr>
      </a:lvl4pPr>
      <a:lvl5pPr marL="1945843">
        <a:defRPr>
          <a:latin typeface="+mn-lt"/>
          <a:ea typeface="+mn-ea"/>
          <a:cs typeface="+mn-cs"/>
        </a:defRPr>
      </a:lvl5pPr>
      <a:lvl6pPr marL="2432304">
        <a:defRPr>
          <a:latin typeface="+mn-lt"/>
          <a:ea typeface="+mn-ea"/>
          <a:cs typeface="+mn-cs"/>
        </a:defRPr>
      </a:lvl6pPr>
      <a:lvl7pPr marL="2918765">
        <a:defRPr>
          <a:latin typeface="+mn-lt"/>
          <a:ea typeface="+mn-ea"/>
          <a:cs typeface="+mn-cs"/>
        </a:defRPr>
      </a:lvl7pPr>
      <a:lvl8pPr marL="3405226">
        <a:defRPr>
          <a:latin typeface="+mn-lt"/>
          <a:ea typeface="+mn-ea"/>
          <a:cs typeface="+mn-cs"/>
        </a:defRPr>
      </a:lvl8pPr>
      <a:lvl9pPr marL="3891686">
        <a:defRPr>
          <a:latin typeface="+mn-lt"/>
          <a:ea typeface="+mn-ea"/>
          <a:cs typeface="+mn-cs"/>
        </a:defRPr>
      </a:lvl9pPr>
    </p:bodyStyle>
    <p:otherStyle>
      <a:lvl1pPr marL="0">
        <a:defRPr>
          <a:latin typeface="+mn-lt"/>
          <a:ea typeface="+mn-ea"/>
          <a:cs typeface="+mn-cs"/>
        </a:defRPr>
      </a:lvl1pPr>
      <a:lvl2pPr marL="486461">
        <a:defRPr>
          <a:latin typeface="+mn-lt"/>
          <a:ea typeface="+mn-ea"/>
          <a:cs typeface="+mn-cs"/>
        </a:defRPr>
      </a:lvl2pPr>
      <a:lvl3pPr marL="972922">
        <a:defRPr>
          <a:latin typeface="+mn-lt"/>
          <a:ea typeface="+mn-ea"/>
          <a:cs typeface="+mn-cs"/>
        </a:defRPr>
      </a:lvl3pPr>
      <a:lvl4pPr marL="1459382">
        <a:defRPr>
          <a:latin typeface="+mn-lt"/>
          <a:ea typeface="+mn-ea"/>
          <a:cs typeface="+mn-cs"/>
        </a:defRPr>
      </a:lvl4pPr>
      <a:lvl5pPr marL="1945843">
        <a:defRPr>
          <a:latin typeface="+mn-lt"/>
          <a:ea typeface="+mn-ea"/>
          <a:cs typeface="+mn-cs"/>
        </a:defRPr>
      </a:lvl5pPr>
      <a:lvl6pPr marL="2432304">
        <a:defRPr>
          <a:latin typeface="+mn-lt"/>
          <a:ea typeface="+mn-ea"/>
          <a:cs typeface="+mn-cs"/>
        </a:defRPr>
      </a:lvl6pPr>
      <a:lvl7pPr marL="2918765">
        <a:defRPr>
          <a:latin typeface="+mn-lt"/>
          <a:ea typeface="+mn-ea"/>
          <a:cs typeface="+mn-cs"/>
        </a:defRPr>
      </a:lvl7pPr>
      <a:lvl8pPr marL="3405226">
        <a:defRPr>
          <a:latin typeface="+mn-lt"/>
          <a:ea typeface="+mn-ea"/>
          <a:cs typeface="+mn-cs"/>
        </a:defRPr>
      </a:lvl8pPr>
      <a:lvl9pPr marL="3891686">
        <a:defRPr>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4"/>
            <a:ext cx="12192000" cy="6841108"/>
          </a:xfrm>
          <a:custGeom>
            <a:avLst/>
            <a:gdLst/>
            <a:ahLst/>
            <a:cxnLst/>
            <a:rect l="l" t="t" r="r" b="b"/>
            <a:pathLst>
              <a:path w="10287000" h="6429375">
                <a:moveTo>
                  <a:pt x="10286999" y="6429374"/>
                </a:moveTo>
                <a:lnTo>
                  <a:pt x="0" y="6429374"/>
                </a:lnTo>
                <a:lnTo>
                  <a:pt x="0" y="0"/>
                </a:lnTo>
                <a:lnTo>
                  <a:pt x="10286999" y="0"/>
                </a:lnTo>
                <a:lnTo>
                  <a:pt x="10286999" y="6429374"/>
                </a:lnTo>
                <a:close/>
              </a:path>
            </a:pathLst>
          </a:custGeom>
          <a:solidFill>
            <a:srgbClr val="001646"/>
          </a:solidFill>
        </p:spPr>
        <p:txBody>
          <a:bodyPr wrap="square" lIns="0" tIns="0" rIns="0" bIns="0" rtlCol="0"/>
          <a:lstStyle/>
          <a:p>
            <a:endParaRPr sz="1915"/>
          </a:p>
        </p:txBody>
      </p:sp>
      <p:sp>
        <p:nvSpPr>
          <p:cNvPr id="2" name="Holder 2"/>
          <p:cNvSpPr>
            <a:spLocks noGrp="1"/>
          </p:cNvSpPr>
          <p:nvPr>
            <p:ph type="title"/>
          </p:nvPr>
        </p:nvSpPr>
        <p:spPr>
          <a:xfrm>
            <a:off x="894939" y="2456542"/>
            <a:ext cx="9262157" cy="384721"/>
          </a:xfrm>
          <a:prstGeom prst="rect">
            <a:avLst/>
          </a:prstGeom>
        </p:spPr>
        <p:txBody>
          <a:bodyPr wrap="square" lIns="0" tIns="0" rIns="0" bIns="0">
            <a:spAutoFit/>
          </a:bodyPr>
          <a:lstStyle>
            <a:lvl1pPr>
              <a:defRPr sz="2500" b="0" i="0">
                <a:solidFill>
                  <a:schemeClr val="bg1"/>
                </a:solidFill>
                <a:latin typeface="Source Serif Pro"/>
                <a:cs typeface="Source Serif Pro"/>
              </a:defRPr>
            </a:lvl1pPr>
          </a:lstStyle>
          <a:p>
            <a:endParaRPr dirty="0"/>
          </a:p>
        </p:txBody>
      </p:sp>
      <p:sp>
        <p:nvSpPr>
          <p:cNvPr id="3" name="Holder 3"/>
          <p:cNvSpPr>
            <a:spLocks noGrp="1"/>
          </p:cNvSpPr>
          <p:nvPr>
            <p:ph type="body" idx="1"/>
          </p:nvPr>
        </p:nvSpPr>
        <p:spPr>
          <a:xfrm>
            <a:off x="609600" y="1577340"/>
            <a:ext cx="10972800" cy="276999"/>
          </a:xfrm>
          <a:prstGeom prst="rect">
            <a:avLst/>
          </a:prstGeom>
        </p:spPr>
        <p:txBody>
          <a:bodyPr wrap="square" lIns="0" tIns="0" rIns="0" bIns="0">
            <a:spAutoFit/>
          </a:bodyPr>
          <a:lstStyle>
            <a:lvl1pPr>
              <a:defRPr/>
            </a:lvl1pPr>
          </a:lstStyle>
          <a:p>
            <a:endParaRPr dirty="0"/>
          </a:p>
        </p:txBody>
      </p:sp>
      <p:sp>
        <p:nvSpPr>
          <p:cNvPr id="4" name="Holder 4"/>
          <p:cNvSpPr>
            <a:spLocks noGrp="1"/>
          </p:cNvSpPr>
          <p:nvPr>
            <p:ph type="ftr" sz="quarter" idx="5"/>
          </p:nvPr>
        </p:nvSpPr>
        <p:spPr>
          <a:xfrm>
            <a:off x="4145280" y="6377940"/>
            <a:ext cx="3901440" cy="276999"/>
          </a:xfrm>
          <a:prstGeom prst="rect">
            <a:avLst/>
          </a:prstGeom>
        </p:spPr>
        <p:txBody>
          <a:bodyPr wrap="square" lIns="0" tIns="0" rIns="0" bIns="0">
            <a:spAutoFit/>
          </a:bodyPr>
          <a:lstStyle>
            <a:lvl1pPr algn="ctr">
              <a:defRPr>
                <a:solidFill>
                  <a:schemeClr val="tx2"/>
                </a:solidFill>
                <a:latin typeface="DM Serif Text" pitchFamily="2" charset="0"/>
              </a:defRPr>
            </a:lvl1pPr>
          </a:lstStyle>
          <a:p>
            <a:endParaRPr lang="en-US" dirty="0"/>
          </a:p>
        </p:txBody>
      </p:sp>
      <p:sp>
        <p:nvSpPr>
          <p:cNvPr id="5" name="Holder 5"/>
          <p:cNvSpPr>
            <a:spLocks noGrp="1"/>
          </p:cNvSpPr>
          <p:nvPr>
            <p:ph type="dt" sz="half" idx="6"/>
          </p:nvPr>
        </p:nvSpPr>
        <p:spPr>
          <a:xfrm>
            <a:off x="609600" y="6377940"/>
            <a:ext cx="2804160" cy="276999"/>
          </a:xfrm>
          <a:prstGeom prst="rect">
            <a:avLst/>
          </a:prstGeom>
        </p:spPr>
        <p:txBody>
          <a:bodyPr wrap="square" lIns="0" tIns="0" rIns="0" bIns="0">
            <a:spAutoFit/>
          </a:bodyPr>
          <a:lstStyle>
            <a:lvl1pPr algn="l">
              <a:defRPr>
                <a:solidFill>
                  <a:schemeClr val="bg2"/>
                </a:solidFill>
                <a:latin typeface="DM Serif Text" pitchFamily="2" charset="0"/>
              </a:defRPr>
            </a:lvl1pPr>
          </a:lstStyle>
          <a:p>
            <a:fld id="{1D8BD707-D9CF-40AE-B4C6-C98DA3205C09}" type="datetimeFigureOut">
              <a:rPr lang="en-US" smtClean="0"/>
              <a:pPr/>
              <a:t>11/5/2025</a:t>
            </a:fld>
            <a:endParaRPr lang="en-US" dirty="0"/>
          </a:p>
        </p:txBody>
      </p:sp>
      <p:sp>
        <p:nvSpPr>
          <p:cNvPr id="6" name="Holder 6"/>
          <p:cNvSpPr>
            <a:spLocks noGrp="1"/>
          </p:cNvSpPr>
          <p:nvPr>
            <p:ph type="sldNum" sz="quarter" idx="7"/>
          </p:nvPr>
        </p:nvSpPr>
        <p:spPr>
          <a:xfrm>
            <a:off x="11785601" y="6421330"/>
            <a:ext cx="184385" cy="196529"/>
          </a:xfrm>
          <a:prstGeom prst="rect">
            <a:avLst/>
          </a:prstGeom>
        </p:spPr>
        <p:txBody>
          <a:bodyPr wrap="square" lIns="0" tIns="0" rIns="0" bIns="0">
            <a:spAutoFit/>
          </a:bodyPr>
          <a:lstStyle>
            <a:lvl1pPr>
              <a:defRPr sz="1277" b="0" i="0">
                <a:solidFill>
                  <a:schemeClr val="bg1"/>
                </a:solidFill>
                <a:latin typeface="Source Serif Pro"/>
                <a:cs typeface="Source Serif Pro"/>
              </a:defRPr>
            </a:lvl1pPr>
          </a:lstStyle>
          <a:p>
            <a:pPr marL="13513">
              <a:spcBef>
                <a:spcPts val="160"/>
              </a:spcBef>
            </a:pPr>
            <a:fld id="{81D60167-4931-47E6-BA6A-407CBD079E47}" type="slidenum">
              <a:rPr lang="en-US" spc="-74" smtClean="0"/>
              <a:pPr marL="13513">
                <a:spcBef>
                  <a:spcPts val="160"/>
                </a:spcBef>
              </a:pPr>
              <a:t>‹#›</a:t>
            </a:fld>
            <a:endParaRPr lang="en-US" spc="-74" dirty="0"/>
          </a:p>
        </p:txBody>
      </p:sp>
      <p:pic>
        <p:nvPicPr>
          <p:cNvPr id="8" name="Picture 7" descr="A logo with white text&#10;&#10;AI-generated content may be incorrect.">
            <a:extLst>
              <a:ext uri="{FF2B5EF4-FFF2-40B4-BE49-F238E27FC236}">
                <a16:creationId xmlns:a16="http://schemas.microsoft.com/office/drawing/2014/main" id="{E8E4769C-31C2-E346-C76C-305477A3BB27}"/>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388774" y="185323"/>
            <a:ext cx="1565407" cy="733192"/>
          </a:xfrm>
          <a:prstGeom prst="rect">
            <a:avLst/>
          </a:prstGeom>
        </p:spPr>
      </p:pic>
    </p:spTree>
    <p:extLst>
      <p:ext uri="{BB962C8B-B14F-4D97-AF65-F5344CB8AC3E}">
        <p14:creationId xmlns:p14="http://schemas.microsoft.com/office/powerpoint/2010/main" val="3439116507"/>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Lst>
  <p:txStyles>
    <p:titleStyle>
      <a:lvl1pPr>
        <a:defRPr>
          <a:latin typeface="+mj-lt"/>
          <a:ea typeface="+mj-ea"/>
          <a:cs typeface="+mj-cs"/>
        </a:defRPr>
      </a:lvl1pPr>
    </p:titleStyle>
    <p:bodyStyle>
      <a:lvl1pPr marL="0">
        <a:defRPr>
          <a:solidFill>
            <a:schemeClr val="bg2"/>
          </a:solidFill>
          <a:latin typeface="+mj-lt"/>
          <a:ea typeface="+mn-ea"/>
          <a:cs typeface="+mn-cs"/>
        </a:defRPr>
      </a:lvl1pPr>
      <a:lvl2pPr marL="486461">
        <a:defRPr>
          <a:latin typeface="+mn-lt"/>
          <a:ea typeface="+mn-ea"/>
          <a:cs typeface="+mn-cs"/>
        </a:defRPr>
      </a:lvl2pPr>
      <a:lvl3pPr marL="972922">
        <a:defRPr>
          <a:latin typeface="+mn-lt"/>
          <a:ea typeface="+mn-ea"/>
          <a:cs typeface="+mn-cs"/>
        </a:defRPr>
      </a:lvl3pPr>
      <a:lvl4pPr marL="1459382">
        <a:defRPr>
          <a:latin typeface="+mn-lt"/>
          <a:ea typeface="+mn-ea"/>
          <a:cs typeface="+mn-cs"/>
        </a:defRPr>
      </a:lvl4pPr>
      <a:lvl5pPr marL="1945843">
        <a:defRPr>
          <a:latin typeface="+mn-lt"/>
          <a:ea typeface="+mn-ea"/>
          <a:cs typeface="+mn-cs"/>
        </a:defRPr>
      </a:lvl5pPr>
      <a:lvl6pPr marL="2432304">
        <a:defRPr>
          <a:latin typeface="+mn-lt"/>
          <a:ea typeface="+mn-ea"/>
          <a:cs typeface="+mn-cs"/>
        </a:defRPr>
      </a:lvl6pPr>
      <a:lvl7pPr marL="2918765">
        <a:defRPr>
          <a:latin typeface="+mn-lt"/>
          <a:ea typeface="+mn-ea"/>
          <a:cs typeface="+mn-cs"/>
        </a:defRPr>
      </a:lvl7pPr>
      <a:lvl8pPr marL="3405226">
        <a:defRPr>
          <a:latin typeface="+mn-lt"/>
          <a:ea typeface="+mn-ea"/>
          <a:cs typeface="+mn-cs"/>
        </a:defRPr>
      </a:lvl8pPr>
      <a:lvl9pPr marL="3891686">
        <a:defRPr>
          <a:latin typeface="+mn-lt"/>
          <a:ea typeface="+mn-ea"/>
          <a:cs typeface="+mn-cs"/>
        </a:defRPr>
      </a:lvl9pPr>
    </p:bodyStyle>
    <p:otherStyle>
      <a:lvl1pPr marL="0">
        <a:defRPr>
          <a:latin typeface="+mn-lt"/>
          <a:ea typeface="+mn-ea"/>
          <a:cs typeface="+mn-cs"/>
        </a:defRPr>
      </a:lvl1pPr>
      <a:lvl2pPr marL="486461">
        <a:defRPr>
          <a:latin typeface="+mn-lt"/>
          <a:ea typeface="+mn-ea"/>
          <a:cs typeface="+mn-cs"/>
        </a:defRPr>
      </a:lvl2pPr>
      <a:lvl3pPr marL="972922">
        <a:defRPr>
          <a:latin typeface="+mn-lt"/>
          <a:ea typeface="+mn-ea"/>
          <a:cs typeface="+mn-cs"/>
        </a:defRPr>
      </a:lvl3pPr>
      <a:lvl4pPr marL="1459382">
        <a:defRPr>
          <a:latin typeface="+mn-lt"/>
          <a:ea typeface="+mn-ea"/>
          <a:cs typeface="+mn-cs"/>
        </a:defRPr>
      </a:lvl4pPr>
      <a:lvl5pPr marL="1945843">
        <a:defRPr>
          <a:latin typeface="+mn-lt"/>
          <a:ea typeface="+mn-ea"/>
          <a:cs typeface="+mn-cs"/>
        </a:defRPr>
      </a:lvl5pPr>
      <a:lvl6pPr marL="2432304">
        <a:defRPr>
          <a:latin typeface="+mn-lt"/>
          <a:ea typeface="+mn-ea"/>
          <a:cs typeface="+mn-cs"/>
        </a:defRPr>
      </a:lvl6pPr>
      <a:lvl7pPr marL="2918765">
        <a:defRPr>
          <a:latin typeface="+mn-lt"/>
          <a:ea typeface="+mn-ea"/>
          <a:cs typeface="+mn-cs"/>
        </a:defRPr>
      </a:lvl7pPr>
      <a:lvl8pPr marL="3405226">
        <a:defRPr>
          <a:latin typeface="+mn-lt"/>
          <a:ea typeface="+mn-ea"/>
          <a:cs typeface="+mn-cs"/>
        </a:defRPr>
      </a:lvl8pPr>
      <a:lvl9pPr marL="3891686">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1.xml"/></Relationships>
</file>

<file path=ppt/slides/_rels/slide1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eg"/><Relationship Id="rId1" Type="http://schemas.openxmlformats.org/officeDocument/2006/relationships/slideLayout" Target="../slideLayouts/slideLayout5.xml"/><Relationship Id="rId6" Type="http://schemas.openxmlformats.org/officeDocument/2006/relationships/image" Target="../media/image20.jpeg"/><Relationship Id="rId5" Type="http://schemas.openxmlformats.org/officeDocument/2006/relationships/image" Target="../media/image19.png"/><Relationship Id="rId4" Type="http://schemas.openxmlformats.org/officeDocument/2006/relationships/image" Target="../media/image18.png"/></Relationships>
</file>

<file path=ppt/slides/_rels/slide1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s/_rels/slide15.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2" Type="http://schemas.openxmlformats.org/officeDocument/2006/relationships/hyperlink" Target="https://www.hawaiidata.org/news/2020/7/1/data-equity-what-is-it-and-why-does-it-matter" TargetMode="External"/><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0.xml"/><Relationship Id="rId1" Type="http://schemas.openxmlformats.org/officeDocument/2006/relationships/slideLayout" Target="../slideLayouts/slideLayout8.xml"/><Relationship Id="rId4" Type="http://schemas.openxmlformats.org/officeDocument/2006/relationships/image" Target="../media/image29.png"/></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1.xml"/><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2.xml"/><Relationship Id="rId1" Type="http://schemas.openxmlformats.org/officeDocument/2006/relationships/slideLayout" Target="../slideLayouts/slideLayout8.xml"/><Relationship Id="rId6" Type="http://schemas.openxmlformats.org/officeDocument/2006/relationships/chart" Target="../charts/chart5.xml"/><Relationship Id="rId5" Type="http://schemas.openxmlformats.org/officeDocument/2006/relationships/chart" Target="../charts/chart4.xml"/><Relationship Id="rId4" Type="http://schemas.openxmlformats.org/officeDocument/2006/relationships/chart" Target="../charts/char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13.xml"/><Relationship Id="rId1" Type="http://schemas.openxmlformats.org/officeDocument/2006/relationships/slideLayout" Target="../slideLayouts/slideLayout8.xml"/><Relationship Id="rId5" Type="http://schemas.openxmlformats.org/officeDocument/2006/relationships/image" Target="../media/image31.png"/><Relationship Id="rId4" Type="http://schemas.openxmlformats.org/officeDocument/2006/relationships/chart" Target="../charts/chart7.xml"/></Relationships>
</file>

<file path=ppt/slides/_rels/slide27.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14.xml"/><Relationship Id="rId1" Type="http://schemas.openxmlformats.org/officeDocument/2006/relationships/slideLayout" Target="../slideLayouts/slideLayout8.xml"/><Relationship Id="rId4" Type="http://schemas.openxmlformats.org/officeDocument/2006/relationships/image" Target="../media/image32.emf"/></Relationships>
</file>

<file path=ppt/slides/_rels/slide28.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notesSlide" Target="../notesSlides/notesSlide15.xml"/><Relationship Id="rId1" Type="http://schemas.openxmlformats.org/officeDocument/2006/relationships/slideLayout" Target="../slideLayouts/slideLayout8.xml"/><Relationship Id="rId4" Type="http://schemas.openxmlformats.org/officeDocument/2006/relationships/chart" Target="../charts/chart9.xml"/></Relationships>
</file>

<file path=ppt/slides/_rels/slide29.xml.rels><?xml version="1.0" encoding="UTF-8" standalone="yes"?>
<Relationships xmlns="http://schemas.openxmlformats.org/package/2006/relationships"><Relationship Id="rId3" Type="http://schemas.openxmlformats.org/officeDocument/2006/relationships/chart" Target="../charts/chart10.xml"/><Relationship Id="rId7" Type="http://schemas.openxmlformats.org/officeDocument/2006/relationships/image" Target="../media/image34.emf"/><Relationship Id="rId2" Type="http://schemas.openxmlformats.org/officeDocument/2006/relationships/notesSlide" Target="../notesSlides/notesSlide16.xml"/><Relationship Id="rId1" Type="http://schemas.openxmlformats.org/officeDocument/2006/relationships/slideLayout" Target="../slideLayouts/slideLayout8.xml"/><Relationship Id="rId6" Type="http://schemas.openxmlformats.org/officeDocument/2006/relationships/chart" Target="../charts/chart13.xml"/><Relationship Id="rId5" Type="http://schemas.openxmlformats.org/officeDocument/2006/relationships/chart" Target="../charts/chart12.xml"/><Relationship Id="rId4" Type="http://schemas.openxmlformats.org/officeDocument/2006/relationships/chart" Target="../charts/chart1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7.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7.xml"/><Relationship Id="rId1" Type="http://schemas.openxmlformats.org/officeDocument/2006/relationships/slideLayout" Target="../slideLayouts/slideLayout8.xml"/><Relationship Id="rId4" Type="http://schemas.openxmlformats.org/officeDocument/2006/relationships/chart" Target="../charts/chart14.xml"/></Relationships>
</file>

<file path=ppt/slides/_rels/slide32.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notesSlide" Target="../notesSlides/notesSlide18.xml"/><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notesSlide" Target="../notesSlides/notesSlide20.xml"/><Relationship Id="rId1" Type="http://schemas.openxmlformats.org/officeDocument/2006/relationships/slideLayout" Target="../slideLayouts/slideLayout8.xml"/><Relationship Id="rId4" Type="http://schemas.openxmlformats.org/officeDocument/2006/relationships/chart" Target="../charts/chart17.xml"/></Relationships>
</file>

<file path=ppt/slides/_rels/slide35.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notesSlide" Target="../notesSlides/notesSlide21.xml"/><Relationship Id="rId1" Type="http://schemas.openxmlformats.org/officeDocument/2006/relationships/slideLayout" Target="../slideLayouts/slideLayout8.xml"/><Relationship Id="rId4" Type="http://schemas.openxmlformats.org/officeDocument/2006/relationships/chart" Target="../charts/chart19.xml"/></Relationships>
</file>

<file path=ppt/slides/_rels/slide36.xml.rels><?xml version="1.0" encoding="UTF-8" standalone="yes"?>
<Relationships xmlns="http://schemas.openxmlformats.org/package/2006/relationships"><Relationship Id="rId3" Type="http://schemas.openxmlformats.org/officeDocument/2006/relationships/chart" Target="../charts/chart20.xml"/><Relationship Id="rId2" Type="http://schemas.openxmlformats.org/officeDocument/2006/relationships/notesSlide" Target="../notesSlides/notesSlide22.xml"/><Relationship Id="rId1" Type="http://schemas.openxmlformats.org/officeDocument/2006/relationships/slideLayout" Target="../slideLayouts/slideLayout8.xml"/><Relationship Id="rId4" Type="http://schemas.openxmlformats.org/officeDocument/2006/relationships/chart" Target="../charts/chart21.xml"/></Relationships>
</file>

<file path=ppt/slides/_rels/slide37.xml.rels><?xml version="1.0" encoding="UTF-8" standalone="yes"?>
<Relationships xmlns="http://schemas.openxmlformats.org/package/2006/relationships"><Relationship Id="rId3" Type="http://schemas.openxmlformats.org/officeDocument/2006/relationships/chart" Target="../charts/chart22.xml"/><Relationship Id="rId2" Type="http://schemas.openxmlformats.org/officeDocument/2006/relationships/notesSlide" Target="../notesSlides/notesSlide23.xml"/><Relationship Id="rId1" Type="http://schemas.openxmlformats.org/officeDocument/2006/relationships/slideLayout" Target="../slideLayouts/slideLayout8.xml"/><Relationship Id="rId4" Type="http://schemas.openxmlformats.org/officeDocument/2006/relationships/chart" Target="../charts/chart23.xml"/></Relationships>
</file>

<file path=ppt/slides/_rels/slide38.xml.rels><?xml version="1.0" encoding="UTF-8" standalone="yes"?>
<Relationships xmlns="http://schemas.openxmlformats.org/package/2006/relationships"><Relationship Id="rId3" Type="http://schemas.openxmlformats.org/officeDocument/2006/relationships/chart" Target="../charts/chart24.xml"/><Relationship Id="rId2" Type="http://schemas.openxmlformats.org/officeDocument/2006/relationships/notesSlide" Target="../notesSlides/notesSlide24.xml"/><Relationship Id="rId1" Type="http://schemas.openxmlformats.org/officeDocument/2006/relationships/slideLayout" Target="../slideLayouts/slideLayout8.xml"/><Relationship Id="rId4" Type="http://schemas.openxmlformats.org/officeDocument/2006/relationships/chart" Target="../charts/chart25.xml"/></Relationships>
</file>

<file path=ppt/slides/_rels/slide39.xml.rels><?xml version="1.0" encoding="UTF-8" standalone="yes"?>
<Relationships xmlns="http://schemas.openxmlformats.org/package/2006/relationships"><Relationship Id="rId3" Type="http://schemas.openxmlformats.org/officeDocument/2006/relationships/chart" Target="../charts/chart26.xml"/><Relationship Id="rId2" Type="http://schemas.openxmlformats.org/officeDocument/2006/relationships/notesSlide" Target="../notesSlides/notesSlide25.xml"/><Relationship Id="rId1" Type="http://schemas.openxmlformats.org/officeDocument/2006/relationships/slideLayout" Target="../slideLayouts/slideLayout8.xml"/><Relationship Id="rId4" Type="http://schemas.openxmlformats.org/officeDocument/2006/relationships/chart" Target="../charts/chart2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7.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xml"/><Relationship Id="rId1" Type="http://schemas.openxmlformats.org/officeDocument/2006/relationships/slideLayout" Target="../slideLayouts/slideLayout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6.jpeg"/><Relationship Id="rId7" Type="http://schemas.openxmlformats.org/officeDocument/2006/relationships/image" Target="../media/image10.jpeg"/><Relationship Id="rId2" Type="http://schemas.openxmlformats.org/officeDocument/2006/relationships/image" Target="../media/image5.jpeg"/><Relationship Id="rId1" Type="http://schemas.openxmlformats.org/officeDocument/2006/relationships/slideLayout" Target="../slideLayouts/slideLayout2.xml"/><Relationship Id="rId6" Type="http://schemas.openxmlformats.org/officeDocument/2006/relationships/image" Target="../media/image9.jpeg"/><Relationship Id="rId5" Type="http://schemas.openxmlformats.org/officeDocument/2006/relationships/image" Target="../media/image8.jpeg"/><Relationship Id="rId4" Type="http://schemas.openxmlformats.org/officeDocument/2006/relationships/image" Target="../media/image7.jpeg"/></Relationships>
</file>

<file path=ppt/slides/_rels/slide9.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jpeg"/><Relationship Id="rId1" Type="http://schemas.openxmlformats.org/officeDocument/2006/relationships/slideLayout" Target="../slideLayouts/slideLayout2.xml"/><Relationship Id="rId6" Type="http://schemas.openxmlformats.org/officeDocument/2006/relationships/image" Target="../media/image15.jpeg"/><Relationship Id="rId5" Type="http://schemas.openxmlformats.org/officeDocument/2006/relationships/image" Target="../media/image14.jpeg"/><Relationship Id="rId4" Type="http://schemas.openxmlformats.org/officeDocument/2006/relationships/image" Target="../media/image13.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FA6BE6-84C8-6F31-9BF2-1819192EE7CA}"/>
            </a:ext>
          </a:extLst>
        </p:cNvPr>
        <p:cNvGrpSpPr/>
        <p:nvPr/>
      </p:nvGrpSpPr>
      <p:grpSpPr>
        <a:xfrm>
          <a:off x="0" y="0"/>
          <a:ext cx="0" cy="0"/>
          <a:chOff x="0" y="0"/>
          <a:chExt cx="0" cy="0"/>
        </a:xfrm>
      </p:grpSpPr>
      <p:pic>
        <p:nvPicPr>
          <p:cNvPr id="4" name="Picture 3" descr="A blue logo with a snake and a fish&#10;&#10;AI-generated content may be incorrect.">
            <a:extLst>
              <a:ext uri="{FF2B5EF4-FFF2-40B4-BE49-F238E27FC236}">
                <a16:creationId xmlns:a16="http://schemas.microsoft.com/office/drawing/2014/main" id="{0D48B7A7-8143-3A69-34A0-971E54796F3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879850" y="1077686"/>
            <a:ext cx="8270140" cy="4652707"/>
          </a:xfrm>
          <a:prstGeom prst="rect">
            <a:avLst/>
          </a:prstGeom>
        </p:spPr>
      </p:pic>
      <p:sp>
        <p:nvSpPr>
          <p:cNvPr id="2" name="Title 1">
            <a:extLst>
              <a:ext uri="{FF2B5EF4-FFF2-40B4-BE49-F238E27FC236}">
                <a16:creationId xmlns:a16="http://schemas.microsoft.com/office/drawing/2014/main" id="{64AF8B4B-9686-5ED7-68F5-5845366273DE}"/>
              </a:ext>
            </a:extLst>
          </p:cNvPr>
          <p:cNvSpPr>
            <a:spLocks noGrp="1"/>
          </p:cNvSpPr>
          <p:nvPr>
            <p:ph type="ctrTitle"/>
          </p:nvPr>
        </p:nvSpPr>
        <p:spPr>
          <a:xfrm>
            <a:off x="1444047" y="1701460"/>
            <a:ext cx="9303907" cy="1309846"/>
          </a:xfrm>
        </p:spPr>
        <p:txBody>
          <a:bodyPr/>
          <a:lstStyle/>
          <a:p>
            <a:r>
              <a:rPr lang="en-US" sz="4256" b="1" dirty="0"/>
              <a:t>The Social Prescription – From Patient Record to Community Insight</a:t>
            </a:r>
          </a:p>
        </p:txBody>
      </p:sp>
      <p:sp>
        <p:nvSpPr>
          <p:cNvPr id="3" name="Subtitle 2">
            <a:extLst>
              <a:ext uri="{FF2B5EF4-FFF2-40B4-BE49-F238E27FC236}">
                <a16:creationId xmlns:a16="http://schemas.microsoft.com/office/drawing/2014/main" id="{F5571D7D-2804-074F-6F54-7EEFCD385018}"/>
              </a:ext>
            </a:extLst>
          </p:cNvPr>
          <p:cNvSpPr>
            <a:spLocks noGrp="1"/>
          </p:cNvSpPr>
          <p:nvPr>
            <p:ph type="subTitle" idx="4"/>
          </p:nvPr>
        </p:nvSpPr>
        <p:spPr>
          <a:xfrm>
            <a:off x="1444047" y="3930120"/>
            <a:ext cx="7662041" cy="738664"/>
          </a:xfrm>
        </p:spPr>
        <p:txBody>
          <a:bodyPr/>
          <a:lstStyle/>
          <a:p>
            <a:r>
              <a:rPr lang="en-US" sz="2400" dirty="0"/>
              <a:t>Paulo B. Pinho, MD – Clinical Informatics, Board Certified</a:t>
            </a:r>
          </a:p>
          <a:p>
            <a:r>
              <a:rPr lang="en-US" sz="2400" dirty="0"/>
              <a:t>November 6, 2025</a:t>
            </a:r>
          </a:p>
        </p:txBody>
      </p:sp>
    </p:spTree>
    <p:extLst>
      <p:ext uri="{BB962C8B-B14F-4D97-AF65-F5344CB8AC3E}">
        <p14:creationId xmlns:p14="http://schemas.microsoft.com/office/powerpoint/2010/main" val="368780088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E7D603-5B98-F182-5E53-F32EDAC22A49}"/>
              </a:ext>
            </a:extLst>
          </p:cNvPr>
          <p:cNvSpPr txBox="1">
            <a:spLocks/>
          </p:cNvSpPr>
          <p:nvPr/>
        </p:nvSpPr>
        <p:spPr>
          <a:xfrm>
            <a:off x="516367" y="257672"/>
            <a:ext cx="11441953" cy="535125"/>
          </a:xfrm>
          <a:prstGeom prst="rect">
            <a:avLst/>
          </a:prstGeom>
        </p:spPr>
        <p:txBody>
          <a:bodyPr/>
          <a:lstStyle>
            <a:lvl1pPr>
              <a:defRPr>
                <a:latin typeface="+mj-lt"/>
                <a:ea typeface="+mj-ea"/>
                <a:cs typeface="+mj-cs"/>
              </a:defRPr>
            </a:lvl1pPr>
          </a:lstStyle>
          <a:p>
            <a:r>
              <a:rPr lang="en-US" sz="4000" kern="0" dirty="0">
                <a:solidFill>
                  <a:schemeClr val="bg1"/>
                </a:solidFill>
                <a:latin typeface="Source Serif Pro" panose="02040603050405020204" pitchFamily="18" charset="0"/>
                <a:ea typeface="Source Serif Pro" panose="02040603050405020204" pitchFamily="18" charset="0"/>
              </a:rPr>
              <a:t>Patient Care in Leogane, Haiti</a:t>
            </a:r>
          </a:p>
        </p:txBody>
      </p:sp>
      <p:sp>
        <p:nvSpPr>
          <p:cNvPr id="3" name="Content Placeholder 3">
            <a:extLst>
              <a:ext uri="{FF2B5EF4-FFF2-40B4-BE49-F238E27FC236}">
                <a16:creationId xmlns:a16="http://schemas.microsoft.com/office/drawing/2014/main" id="{E3FC26FE-3ECF-1A9B-7181-B234CF86228A}"/>
              </a:ext>
            </a:extLst>
          </p:cNvPr>
          <p:cNvSpPr txBox="1">
            <a:spLocks/>
          </p:cNvSpPr>
          <p:nvPr/>
        </p:nvSpPr>
        <p:spPr>
          <a:xfrm>
            <a:off x="516367" y="785970"/>
            <a:ext cx="11441953" cy="314960"/>
          </a:xfrm>
          <a:prstGeom prst="rect">
            <a:avLst/>
          </a:prstGeom>
        </p:spPr>
        <p:txBody>
          <a:bodyPr/>
          <a:lstStyle>
            <a:lvl1pPr marL="0">
              <a:defRPr>
                <a:solidFill>
                  <a:schemeClr val="bg2"/>
                </a:solidFill>
                <a:latin typeface="+mj-lt"/>
                <a:ea typeface="+mn-ea"/>
                <a:cs typeface="+mn-cs"/>
              </a:defRPr>
            </a:lvl1pPr>
            <a:lvl2pPr marL="486461">
              <a:defRPr>
                <a:latin typeface="+mn-lt"/>
                <a:ea typeface="+mn-ea"/>
                <a:cs typeface="+mn-cs"/>
              </a:defRPr>
            </a:lvl2pPr>
            <a:lvl3pPr marL="972922">
              <a:defRPr>
                <a:latin typeface="+mn-lt"/>
                <a:ea typeface="+mn-ea"/>
                <a:cs typeface="+mn-cs"/>
              </a:defRPr>
            </a:lvl3pPr>
            <a:lvl4pPr marL="1459382">
              <a:defRPr>
                <a:latin typeface="+mn-lt"/>
                <a:ea typeface="+mn-ea"/>
                <a:cs typeface="+mn-cs"/>
              </a:defRPr>
            </a:lvl4pPr>
            <a:lvl5pPr marL="1945843">
              <a:defRPr>
                <a:latin typeface="+mn-lt"/>
                <a:ea typeface="+mn-ea"/>
                <a:cs typeface="+mn-cs"/>
              </a:defRPr>
            </a:lvl5pPr>
            <a:lvl6pPr marL="2432304">
              <a:defRPr>
                <a:latin typeface="+mn-lt"/>
                <a:ea typeface="+mn-ea"/>
                <a:cs typeface="+mn-cs"/>
              </a:defRPr>
            </a:lvl6pPr>
            <a:lvl7pPr marL="2918765">
              <a:defRPr>
                <a:latin typeface="+mn-lt"/>
                <a:ea typeface="+mn-ea"/>
                <a:cs typeface="+mn-cs"/>
              </a:defRPr>
            </a:lvl7pPr>
            <a:lvl8pPr marL="3405226">
              <a:defRPr>
                <a:latin typeface="+mn-lt"/>
                <a:ea typeface="+mn-ea"/>
                <a:cs typeface="+mn-cs"/>
              </a:defRPr>
            </a:lvl8pPr>
            <a:lvl9pPr marL="3891686">
              <a:defRPr>
                <a:latin typeface="+mn-lt"/>
                <a:ea typeface="+mn-ea"/>
                <a:cs typeface="+mn-cs"/>
              </a:defRPr>
            </a:lvl9pPr>
          </a:lstStyle>
          <a:p>
            <a:r>
              <a:rPr lang="en-US" kern="0"/>
              <a:t>An uphill battle challenged by care access, the sick role, supply chain</a:t>
            </a:r>
            <a:endParaRPr lang="en-US" u="sng" kern="0" dirty="0"/>
          </a:p>
        </p:txBody>
      </p:sp>
      <p:grpSp>
        <p:nvGrpSpPr>
          <p:cNvPr id="4" name="Group 3">
            <a:extLst>
              <a:ext uri="{FF2B5EF4-FFF2-40B4-BE49-F238E27FC236}">
                <a16:creationId xmlns:a16="http://schemas.microsoft.com/office/drawing/2014/main" id="{8D74DE64-0FE9-1CF0-095A-F8638037E52B}"/>
              </a:ext>
            </a:extLst>
          </p:cNvPr>
          <p:cNvGrpSpPr/>
          <p:nvPr/>
        </p:nvGrpSpPr>
        <p:grpSpPr>
          <a:xfrm>
            <a:off x="-2" y="1287684"/>
            <a:ext cx="7081357" cy="4768704"/>
            <a:chOff x="-29892" y="1439171"/>
            <a:chExt cx="6908050" cy="4651999"/>
          </a:xfrm>
        </p:grpSpPr>
        <p:grpSp>
          <p:nvGrpSpPr>
            <p:cNvPr id="5" name="Group 4">
              <a:extLst>
                <a:ext uri="{FF2B5EF4-FFF2-40B4-BE49-F238E27FC236}">
                  <a16:creationId xmlns:a16="http://schemas.microsoft.com/office/drawing/2014/main" id="{BFD2EEBA-41EA-6311-E65E-3CD54C0299AE}"/>
                </a:ext>
              </a:extLst>
            </p:cNvPr>
            <p:cNvGrpSpPr/>
            <p:nvPr/>
          </p:nvGrpSpPr>
          <p:grpSpPr>
            <a:xfrm>
              <a:off x="-29892" y="1471764"/>
              <a:ext cx="3345081" cy="4619406"/>
              <a:chOff x="902934" y="997271"/>
              <a:chExt cx="3491367" cy="5155793"/>
            </a:xfrm>
          </p:grpSpPr>
          <p:pic>
            <p:nvPicPr>
              <p:cNvPr id="7" name="Picture 4">
                <a:extLst>
                  <a:ext uri="{FF2B5EF4-FFF2-40B4-BE49-F238E27FC236}">
                    <a16:creationId xmlns:a16="http://schemas.microsoft.com/office/drawing/2014/main" id="{FF35726E-5585-711F-2741-D85E7418E9DA}"/>
                  </a:ext>
                </a:extLst>
              </p:cNvPr>
              <p:cNvPicPr>
                <a:picLocks noChangeAspect="1" noChangeArrowheads="1"/>
              </p:cNvPicPr>
              <p:nvPr/>
            </p:nvPicPr>
            <p:blipFill rotWithShape="1">
              <a:blip r:embed="rId2" cstate="print">
                <a:extLst>
                  <a:ext uri="{28A0092B-C50C-407E-A947-70E740481C1C}">
                    <a14:useLocalDpi xmlns:a14="http://schemas.microsoft.com/office/drawing/2010/main"/>
                  </a:ext>
                </a:extLst>
              </a:blip>
              <a:srcRect/>
              <a:stretch/>
            </p:blipFill>
            <p:spPr bwMode="auto">
              <a:xfrm>
                <a:off x="902934" y="997271"/>
                <a:ext cx="3491367" cy="51557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7">
                <a:extLst>
                  <a:ext uri="{FF2B5EF4-FFF2-40B4-BE49-F238E27FC236}">
                    <a16:creationId xmlns:a16="http://schemas.microsoft.com/office/drawing/2014/main" id="{DC23505B-EC5F-731A-BC58-7C6D3EBCF77B}"/>
                  </a:ext>
                </a:extLst>
              </p:cNvPr>
              <p:cNvSpPr/>
              <p:nvPr/>
            </p:nvSpPr>
            <p:spPr>
              <a:xfrm>
                <a:off x="2893937" y="3469410"/>
                <a:ext cx="730711" cy="274018"/>
              </a:xfrm>
              <a:prstGeom prst="rect">
                <a:avLst/>
              </a:prstGeom>
              <a:solidFill>
                <a:sysClr val="windowText" lastClr="000000"/>
              </a:solidFill>
              <a:ln w="25400" cap="flat" cmpd="sng" algn="ctr">
                <a:solidFill>
                  <a:srgbClr val="919D9D">
                    <a:shade val="50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grpSp>
        <p:pic>
          <p:nvPicPr>
            <p:cNvPr id="6" name="Picture 5">
              <a:extLst>
                <a:ext uri="{FF2B5EF4-FFF2-40B4-BE49-F238E27FC236}">
                  <a16:creationId xmlns:a16="http://schemas.microsoft.com/office/drawing/2014/main" id="{CC4407B8-FB2E-CC59-3438-1C0C8E638533}"/>
                </a:ext>
              </a:extLst>
            </p:cNvPr>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a:stretch/>
          </p:blipFill>
          <p:spPr bwMode="auto">
            <a:xfrm>
              <a:off x="3199230" y="1439171"/>
              <a:ext cx="3678928" cy="46445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9" name="Group 8">
            <a:extLst>
              <a:ext uri="{FF2B5EF4-FFF2-40B4-BE49-F238E27FC236}">
                <a16:creationId xmlns:a16="http://schemas.microsoft.com/office/drawing/2014/main" id="{0F09EE34-D1A2-9243-9A75-0CFF3040E8A6}"/>
              </a:ext>
            </a:extLst>
          </p:cNvPr>
          <p:cNvGrpSpPr/>
          <p:nvPr/>
        </p:nvGrpSpPr>
        <p:grpSpPr>
          <a:xfrm>
            <a:off x="6931151" y="1287683"/>
            <a:ext cx="2862074" cy="4761059"/>
            <a:chOff x="4169658" y="977202"/>
            <a:chExt cx="1917100" cy="3189095"/>
          </a:xfrm>
        </p:grpSpPr>
        <p:pic>
          <p:nvPicPr>
            <p:cNvPr id="10" name="Picture 3">
              <a:extLst>
                <a:ext uri="{FF2B5EF4-FFF2-40B4-BE49-F238E27FC236}">
                  <a16:creationId xmlns:a16="http://schemas.microsoft.com/office/drawing/2014/main" id="{193C2B39-AD69-7C25-98E8-740B6D483350}"/>
                </a:ext>
              </a:extLst>
            </p:cNvPr>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4169658" y="977202"/>
              <a:ext cx="1917100" cy="31890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a:extLst>
                <a:ext uri="{FF2B5EF4-FFF2-40B4-BE49-F238E27FC236}">
                  <a16:creationId xmlns:a16="http://schemas.microsoft.com/office/drawing/2014/main" id="{6B7819C9-221C-E1EB-8644-4E88A7B79465}"/>
                </a:ext>
              </a:extLst>
            </p:cNvPr>
            <p:cNvSpPr/>
            <p:nvPr/>
          </p:nvSpPr>
          <p:spPr>
            <a:xfrm>
              <a:off x="4706750" y="3639064"/>
              <a:ext cx="449179" cy="168442"/>
            </a:xfrm>
            <a:prstGeom prst="rect">
              <a:avLst/>
            </a:prstGeom>
            <a:solidFill>
              <a:sysClr val="windowText" lastClr="000000"/>
            </a:solidFill>
            <a:ln w="25400" cap="flat" cmpd="sng" algn="ctr">
              <a:solidFill>
                <a:srgbClr val="919D9D">
                  <a:shade val="50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grpSp>
      <p:grpSp>
        <p:nvGrpSpPr>
          <p:cNvPr id="12" name="Group 11">
            <a:extLst>
              <a:ext uri="{FF2B5EF4-FFF2-40B4-BE49-F238E27FC236}">
                <a16:creationId xmlns:a16="http://schemas.microsoft.com/office/drawing/2014/main" id="{E451BCA1-B5B2-1EF4-63BD-F1920825066B}"/>
              </a:ext>
            </a:extLst>
          </p:cNvPr>
          <p:cNvGrpSpPr/>
          <p:nvPr/>
        </p:nvGrpSpPr>
        <p:grpSpPr>
          <a:xfrm>
            <a:off x="9851371" y="1287683"/>
            <a:ext cx="2339514" cy="2429761"/>
            <a:chOff x="6941721" y="1194550"/>
            <a:chExt cx="1865729" cy="2220360"/>
          </a:xfrm>
        </p:grpSpPr>
        <p:pic>
          <p:nvPicPr>
            <p:cNvPr id="13" name="Picture 12" descr="A person sitting on a bed&#10;&#10;Description automatically generated with low confidence">
              <a:extLst>
                <a:ext uri="{FF2B5EF4-FFF2-40B4-BE49-F238E27FC236}">
                  <a16:creationId xmlns:a16="http://schemas.microsoft.com/office/drawing/2014/main" id="{BE61DFA7-CF19-D730-D686-01645D0CE27E}"/>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6941721" y="1194550"/>
              <a:ext cx="1865729" cy="2220360"/>
            </a:xfrm>
            <a:prstGeom prst="rect">
              <a:avLst/>
            </a:prstGeom>
          </p:spPr>
        </p:pic>
        <p:sp>
          <p:nvSpPr>
            <p:cNvPr id="14" name="Rectangle 13">
              <a:extLst>
                <a:ext uri="{FF2B5EF4-FFF2-40B4-BE49-F238E27FC236}">
                  <a16:creationId xmlns:a16="http://schemas.microsoft.com/office/drawing/2014/main" id="{00812830-628B-D2EC-4F9F-D6C3DF53F912}"/>
                </a:ext>
              </a:extLst>
            </p:cNvPr>
            <p:cNvSpPr/>
            <p:nvPr/>
          </p:nvSpPr>
          <p:spPr>
            <a:xfrm>
              <a:off x="7896141" y="1410214"/>
              <a:ext cx="449179" cy="168442"/>
            </a:xfrm>
            <a:prstGeom prst="rect">
              <a:avLst/>
            </a:prstGeom>
            <a:solidFill>
              <a:sysClr val="windowText" lastClr="000000"/>
            </a:solidFill>
            <a:ln w="25400" cap="flat" cmpd="sng" algn="ctr">
              <a:solidFill>
                <a:srgbClr val="919D9D">
                  <a:shade val="50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grpSp>
      <p:pic>
        <p:nvPicPr>
          <p:cNvPr id="15" name="Picture 14">
            <a:extLst>
              <a:ext uri="{FF2B5EF4-FFF2-40B4-BE49-F238E27FC236}">
                <a16:creationId xmlns:a16="http://schemas.microsoft.com/office/drawing/2014/main" id="{689640F2-9AB6-00F7-AA59-3D2E0EE741E2}"/>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9851372" y="3772308"/>
            <a:ext cx="2339514" cy="2281402"/>
          </a:xfrm>
          <a:prstGeom prst="rect">
            <a:avLst/>
          </a:prstGeom>
        </p:spPr>
      </p:pic>
    </p:spTree>
    <p:extLst>
      <p:ext uri="{BB962C8B-B14F-4D97-AF65-F5344CB8AC3E}">
        <p14:creationId xmlns:p14="http://schemas.microsoft.com/office/powerpoint/2010/main" val="24792996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6CE377-77AB-7764-9F15-25022567E83C}"/>
              </a:ext>
            </a:extLst>
          </p:cNvPr>
          <p:cNvSpPr txBox="1">
            <a:spLocks/>
          </p:cNvSpPr>
          <p:nvPr/>
        </p:nvSpPr>
        <p:spPr>
          <a:xfrm>
            <a:off x="516367" y="257672"/>
            <a:ext cx="11441953" cy="535125"/>
          </a:xfrm>
          <a:prstGeom prst="rect">
            <a:avLst/>
          </a:prstGeom>
        </p:spPr>
        <p:txBody>
          <a:bodyPr/>
          <a:lstStyle>
            <a:lvl1pPr>
              <a:defRPr>
                <a:latin typeface="+mj-lt"/>
                <a:ea typeface="+mj-ea"/>
                <a:cs typeface="+mj-cs"/>
              </a:defRPr>
            </a:lvl1pPr>
          </a:lstStyle>
          <a:p>
            <a:r>
              <a:rPr lang="en-US" sz="4000" kern="0" dirty="0">
                <a:solidFill>
                  <a:schemeClr val="bg1"/>
                </a:solidFill>
                <a:latin typeface="Source Serif Pro" panose="02040603050405020204" pitchFamily="18" charset="0"/>
                <a:ea typeface="Source Serif Pro" panose="02040603050405020204" pitchFamily="18" charset="0"/>
              </a:rPr>
              <a:t>How does the United States Compare?</a:t>
            </a:r>
          </a:p>
        </p:txBody>
      </p:sp>
      <p:graphicFrame>
        <p:nvGraphicFramePr>
          <p:cNvPr id="3" name="Table 2">
            <a:extLst>
              <a:ext uri="{FF2B5EF4-FFF2-40B4-BE49-F238E27FC236}">
                <a16:creationId xmlns:a16="http://schemas.microsoft.com/office/drawing/2014/main" id="{C6CDF2D9-99BE-0E7D-E9A2-7B2414E7DE9F}"/>
              </a:ext>
            </a:extLst>
          </p:cNvPr>
          <p:cNvGraphicFramePr>
            <a:graphicFrameLocks noGrp="1"/>
          </p:cNvGraphicFramePr>
          <p:nvPr>
            <p:extLst>
              <p:ext uri="{D42A27DB-BD31-4B8C-83A1-F6EECF244321}">
                <p14:modId xmlns:p14="http://schemas.microsoft.com/office/powerpoint/2010/main" val="2175517798"/>
              </p:ext>
            </p:extLst>
          </p:nvPr>
        </p:nvGraphicFramePr>
        <p:xfrm>
          <a:off x="831999" y="1234412"/>
          <a:ext cx="10528002" cy="2959692"/>
        </p:xfrm>
        <a:graphic>
          <a:graphicData uri="http://schemas.openxmlformats.org/drawingml/2006/table">
            <a:tbl>
              <a:tblPr firstRow="1" bandRow="1">
                <a:effectLst/>
                <a:tableStyleId>{5C22544A-7EE6-4342-B048-85BDC9FD1C3A}</a:tableStyleId>
              </a:tblPr>
              <a:tblGrid>
                <a:gridCol w="4157980">
                  <a:extLst>
                    <a:ext uri="{9D8B030D-6E8A-4147-A177-3AD203B41FA5}">
                      <a16:colId xmlns:a16="http://schemas.microsoft.com/office/drawing/2014/main" val="126022959"/>
                    </a:ext>
                  </a:extLst>
                </a:gridCol>
                <a:gridCol w="3185011">
                  <a:extLst>
                    <a:ext uri="{9D8B030D-6E8A-4147-A177-3AD203B41FA5}">
                      <a16:colId xmlns:a16="http://schemas.microsoft.com/office/drawing/2014/main" val="4099700268"/>
                    </a:ext>
                  </a:extLst>
                </a:gridCol>
                <a:gridCol w="3185011">
                  <a:extLst>
                    <a:ext uri="{9D8B030D-6E8A-4147-A177-3AD203B41FA5}">
                      <a16:colId xmlns:a16="http://schemas.microsoft.com/office/drawing/2014/main" val="3711657813"/>
                    </a:ext>
                  </a:extLst>
                </a:gridCol>
              </a:tblGrid>
              <a:tr h="493282">
                <a:tc>
                  <a:txBody>
                    <a:bodyPr/>
                    <a:lstStyle/>
                    <a:p>
                      <a:endParaRPr lang="en-US" dirty="0"/>
                    </a:p>
                  </a:txBody>
                  <a:tcPr>
                    <a:lnL w="12700" cap="flat" cmpd="sng" algn="ctr">
                      <a:noFill/>
                      <a:prstDash val="solid"/>
                      <a:round/>
                      <a:headEnd type="none" w="med" len="med"/>
                      <a:tailEnd type="none" w="med" len="med"/>
                    </a:lnL>
                    <a:lnR w="1270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solidFill>
                        <a:srgbClr val="FF671F"/>
                      </a:solidFill>
                      <a:prstDash val="solid"/>
                      <a:round/>
                      <a:headEnd type="none" w="med" len="med"/>
                      <a:tailEnd type="none" w="med" len="med"/>
                    </a:lnB>
                    <a:noFill/>
                  </a:tcPr>
                </a:tc>
                <a:tc>
                  <a:txBody>
                    <a:bodyPr/>
                    <a:lstStyle/>
                    <a:p>
                      <a:pPr algn="ctr"/>
                      <a:r>
                        <a:rPr lang="en-US" dirty="0"/>
                        <a:t>United States</a:t>
                      </a:r>
                    </a:p>
                  </a:txBody>
                  <a:tcPr>
                    <a:lnL w="12700" cap="flat" cmpd="sng" algn="ctr">
                      <a:noFill/>
                      <a:prstDash val="dot"/>
                      <a:round/>
                      <a:headEnd type="none" w="med" len="med"/>
                      <a:tailEnd type="none" w="med" len="med"/>
                    </a:lnL>
                    <a:lnR w="1270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solidFill>
                        <a:srgbClr val="FF671F"/>
                      </a:solidFill>
                      <a:prstDash val="solid"/>
                      <a:round/>
                      <a:headEnd type="none" w="med" len="med"/>
                      <a:tailEnd type="none" w="med" len="med"/>
                    </a:lnB>
                    <a:noFill/>
                  </a:tcPr>
                </a:tc>
                <a:tc>
                  <a:txBody>
                    <a:bodyPr/>
                    <a:lstStyle/>
                    <a:p>
                      <a:pPr algn="ctr"/>
                      <a:r>
                        <a:rPr lang="en-US" dirty="0"/>
                        <a:t>Haiti</a:t>
                      </a:r>
                    </a:p>
                  </a:txBody>
                  <a:tcPr>
                    <a:lnL w="12700" cap="flat" cmpd="sng" algn="ctr">
                      <a:noFill/>
                      <a:prstDash val="dot"/>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671F"/>
                      </a:solidFill>
                      <a:prstDash val="solid"/>
                      <a:round/>
                      <a:headEnd type="none" w="med" len="med"/>
                      <a:tailEnd type="none" w="med" len="med"/>
                    </a:lnB>
                    <a:noFill/>
                  </a:tcPr>
                </a:tc>
                <a:extLst>
                  <a:ext uri="{0D108BD9-81ED-4DB2-BD59-A6C34878D82A}">
                    <a16:rowId xmlns:a16="http://schemas.microsoft.com/office/drawing/2014/main" val="2011182548"/>
                  </a:ext>
                </a:extLst>
              </a:tr>
              <a:tr h="493282">
                <a:tc>
                  <a:txBody>
                    <a:bodyPr/>
                    <a:lstStyle/>
                    <a:p>
                      <a:r>
                        <a:rPr lang="en-US" dirty="0">
                          <a:solidFill>
                            <a:schemeClr val="bg1"/>
                          </a:solidFill>
                        </a:rPr>
                        <a:t>Gross National Income</a:t>
                      </a:r>
                    </a:p>
                  </a:txBody>
                  <a:tcPr anchor="ctr">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rgbClr val="FF671F"/>
                      </a:solidFill>
                      <a:prstDash val="solid"/>
                      <a:round/>
                      <a:headEnd type="none" w="med" len="med"/>
                      <a:tailEnd type="none" w="med" len="med"/>
                    </a:lnT>
                    <a:noFill/>
                  </a:tcPr>
                </a:tc>
                <a:tc>
                  <a:txBody>
                    <a:bodyPr/>
                    <a:lstStyle/>
                    <a:p>
                      <a:pPr algn="ctr"/>
                      <a:r>
                        <a:rPr lang="en-US" dirty="0">
                          <a:solidFill>
                            <a:schemeClr val="bg1"/>
                          </a:solidFill>
                        </a:rPr>
                        <a:t>$70,249</a:t>
                      </a:r>
                    </a:p>
                  </a:txBody>
                  <a:tcPr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rgbClr val="FF671F"/>
                      </a:solidFill>
                      <a:prstDash val="solid"/>
                      <a:round/>
                      <a:headEnd type="none" w="med" len="med"/>
                      <a:tailEnd type="none" w="med" len="med"/>
                    </a:lnT>
                    <a:noFill/>
                  </a:tcPr>
                </a:tc>
                <a:tc>
                  <a:txBody>
                    <a:bodyPr/>
                    <a:lstStyle/>
                    <a:p>
                      <a:pPr algn="ctr"/>
                      <a:r>
                        <a:rPr lang="en-US" dirty="0">
                          <a:solidFill>
                            <a:schemeClr val="bg1"/>
                          </a:solidFill>
                        </a:rPr>
                        <a:t>$1,730</a:t>
                      </a:r>
                    </a:p>
                  </a:txBody>
                  <a:tcPr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rgbClr val="FF671F"/>
                      </a:solidFill>
                      <a:prstDash val="solid"/>
                      <a:round/>
                      <a:headEnd type="none" w="med" len="med"/>
                      <a:tailEnd type="none" w="med" len="med"/>
                    </a:lnT>
                    <a:noFill/>
                  </a:tcPr>
                </a:tc>
                <a:extLst>
                  <a:ext uri="{0D108BD9-81ED-4DB2-BD59-A6C34878D82A}">
                    <a16:rowId xmlns:a16="http://schemas.microsoft.com/office/drawing/2014/main" val="1618657764"/>
                  </a:ext>
                </a:extLst>
              </a:tr>
              <a:tr h="493282">
                <a:tc>
                  <a:txBody>
                    <a:bodyPr/>
                    <a:lstStyle/>
                    <a:p>
                      <a:r>
                        <a:rPr lang="en-US" dirty="0">
                          <a:solidFill>
                            <a:schemeClr val="bg1"/>
                          </a:solidFill>
                        </a:rPr>
                        <a:t>Poor Access to Sanitation</a:t>
                      </a:r>
                    </a:p>
                  </a:txBody>
                  <a:tcPr anchor="ctr">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noFill/>
                  </a:tcPr>
                </a:tc>
                <a:tc>
                  <a:txBody>
                    <a:bodyPr/>
                    <a:lstStyle/>
                    <a:p>
                      <a:pPr algn="ctr"/>
                      <a:r>
                        <a:rPr lang="en-US" dirty="0">
                          <a:solidFill>
                            <a:schemeClr val="bg1"/>
                          </a:solidFill>
                        </a:rPr>
                        <a:t>0.32%</a:t>
                      </a:r>
                    </a:p>
                  </a:txBody>
                  <a:tcPr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noFill/>
                  </a:tcPr>
                </a:tc>
                <a:tc>
                  <a:txBody>
                    <a:bodyPr/>
                    <a:lstStyle/>
                    <a:p>
                      <a:pPr algn="ctr"/>
                      <a:r>
                        <a:rPr lang="en-US" dirty="0">
                          <a:solidFill>
                            <a:schemeClr val="bg1"/>
                          </a:solidFill>
                        </a:rPr>
                        <a:t>25%</a:t>
                      </a:r>
                    </a:p>
                  </a:txBody>
                  <a:tcPr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noFill/>
                  </a:tcPr>
                </a:tc>
                <a:extLst>
                  <a:ext uri="{0D108BD9-81ED-4DB2-BD59-A6C34878D82A}">
                    <a16:rowId xmlns:a16="http://schemas.microsoft.com/office/drawing/2014/main" val="4292681021"/>
                  </a:ext>
                </a:extLst>
              </a:tr>
              <a:tr h="493282">
                <a:tc>
                  <a:txBody>
                    <a:bodyPr/>
                    <a:lstStyle/>
                    <a:p>
                      <a:r>
                        <a:rPr lang="en-US" dirty="0">
                          <a:solidFill>
                            <a:schemeClr val="bg1"/>
                          </a:solidFill>
                        </a:rPr>
                        <a:t>Poor Access to Clean Water</a:t>
                      </a:r>
                    </a:p>
                  </a:txBody>
                  <a:tcPr anchor="ctr">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noFill/>
                  </a:tcPr>
                </a:tc>
                <a:tc>
                  <a:txBody>
                    <a:bodyPr/>
                    <a:lstStyle/>
                    <a:p>
                      <a:pPr algn="ctr"/>
                      <a:r>
                        <a:rPr lang="en-US" dirty="0">
                          <a:solidFill>
                            <a:schemeClr val="bg1"/>
                          </a:solidFill>
                        </a:rPr>
                        <a:t>0.6%</a:t>
                      </a:r>
                    </a:p>
                  </a:txBody>
                  <a:tcPr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noFill/>
                  </a:tcPr>
                </a:tc>
                <a:tc>
                  <a:txBody>
                    <a:bodyPr/>
                    <a:lstStyle/>
                    <a:p>
                      <a:pPr algn="ctr"/>
                      <a:r>
                        <a:rPr lang="en-US" dirty="0">
                          <a:solidFill>
                            <a:schemeClr val="bg1"/>
                          </a:solidFill>
                        </a:rPr>
                        <a:t>50%</a:t>
                      </a:r>
                    </a:p>
                  </a:txBody>
                  <a:tcPr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noFill/>
                  </a:tcPr>
                </a:tc>
                <a:extLst>
                  <a:ext uri="{0D108BD9-81ED-4DB2-BD59-A6C34878D82A}">
                    <a16:rowId xmlns:a16="http://schemas.microsoft.com/office/drawing/2014/main" val="374601375"/>
                  </a:ext>
                </a:extLst>
              </a:tr>
              <a:tr h="493282">
                <a:tc>
                  <a:txBody>
                    <a:bodyPr/>
                    <a:lstStyle/>
                    <a:p>
                      <a:r>
                        <a:rPr lang="en-US" dirty="0">
                          <a:solidFill>
                            <a:schemeClr val="bg1"/>
                          </a:solidFill>
                        </a:rPr>
                        <a:t>Food Insecurity</a:t>
                      </a:r>
                    </a:p>
                  </a:txBody>
                  <a:tcPr anchor="ctr">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noFill/>
                  </a:tcPr>
                </a:tc>
                <a:tc>
                  <a:txBody>
                    <a:bodyPr/>
                    <a:lstStyle/>
                    <a:p>
                      <a:pPr algn="ctr"/>
                      <a:r>
                        <a:rPr lang="en-US" dirty="0">
                          <a:solidFill>
                            <a:schemeClr val="bg1"/>
                          </a:solidFill>
                        </a:rPr>
                        <a:t>12.5%</a:t>
                      </a:r>
                    </a:p>
                  </a:txBody>
                  <a:tcPr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noFill/>
                  </a:tcPr>
                </a:tc>
                <a:tc>
                  <a:txBody>
                    <a:bodyPr/>
                    <a:lstStyle/>
                    <a:p>
                      <a:pPr algn="ctr"/>
                      <a:r>
                        <a:rPr lang="en-US" dirty="0">
                          <a:solidFill>
                            <a:schemeClr val="bg1"/>
                          </a:solidFill>
                        </a:rPr>
                        <a:t>30%</a:t>
                      </a:r>
                    </a:p>
                  </a:txBody>
                  <a:tcPr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noFill/>
                  </a:tcPr>
                </a:tc>
                <a:extLst>
                  <a:ext uri="{0D108BD9-81ED-4DB2-BD59-A6C34878D82A}">
                    <a16:rowId xmlns:a16="http://schemas.microsoft.com/office/drawing/2014/main" val="4208909847"/>
                  </a:ext>
                </a:extLst>
              </a:tr>
              <a:tr h="493282">
                <a:tc>
                  <a:txBody>
                    <a:bodyPr/>
                    <a:lstStyle/>
                    <a:p>
                      <a:r>
                        <a:rPr lang="en-US" b="0" dirty="0">
                          <a:solidFill>
                            <a:schemeClr val="accent2"/>
                          </a:solidFill>
                          <a:effectLst/>
                        </a:rPr>
                        <a:t>Life Expectancy</a:t>
                      </a:r>
                    </a:p>
                  </a:txBody>
                  <a:tcPr anchor="ctr">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B w="12700" cap="flat" cmpd="sng" algn="ctr">
                      <a:noFill/>
                      <a:prstDash val="solid"/>
                      <a:round/>
                      <a:headEnd type="none" w="med" len="med"/>
                      <a:tailEnd type="none" w="med" len="med"/>
                    </a:lnB>
                    <a:noFill/>
                  </a:tcPr>
                </a:tc>
                <a:tc>
                  <a:txBody>
                    <a:bodyPr/>
                    <a:lstStyle/>
                    <a:p>
                      <a:pPr algn="ctr"/>
                      <a:r>
                        <a:rPr lang="en-US" b="0" dirty="0">
                          <a:solidFill>
                            <a:schemeClr val="accent2"/>
                          </a:solidFill>
                          <a:effectLst/>
                        </a:rPr>
                        <a:t>76.1</a:t>
                      </a:r>
                    </a:p>
                  </a:txBody>
                  <a:tcPr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B w="12700" cap="flat" cmpd="sng" algn="ctr">
                      <a:noFill/>
                      <a:prstDash val="solid"/>
                      <a:round/>
                      <a:headEnd type="none" w="med" len="med"/>
                      <a:tailEnd type="none" w="med" len="med"/>
                    </a:lnB>
                    <a:noFill/>
                  </a:tcPr>
                </a:tc>
                <a:tc>
                  <a:txBody>
                    <a:bodyPr/>
                    <a:lstStyle/>
                    <a:p>
                      <a:pPr algn="ctr"/>
                      <a:r>
                        <a:rPr lang="en-US" b="0" dirty="0">
                          <a:solidFill>
                            <a:schemeClr val="accent2"/>
                          </a:solidFill>
                          <a:effectLst/>
                        </a:rPr>
                        <a:t>63</a:t>
                      </a:r>
                    </a:p>
                  </a:txBody>
                  <a:tcPr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B w="12700" cap="flat" cmpd="sng" algn="ctr">
                      <a:noFill/>
                      <a:prstDash val="solid"/>
                      <a:round/>
                      <a:headEnd type="none" w="med" len="med"/>
                      <a:tailEnd type="none" w="med" len="med"/>
                    </a:lnB>
                    <a:noFill/>
                  </a:tcPr>
                </a:tc>
                <a:extLst>
                  <a:ext uri="{0D108BD9-81ED-4DB2-BD59-A6C34878D82A}">
                    <a16:rowId xmlns:a16="http://schemas.microsoft.com/office/drawing/2014/main" val="3052689173"/>
                  </a:ext>
                </a:extLst>
              </a:tr>
            </a:tbl>
          </a:graphicData>
        </a:graphic>
      </p:graphicFrame>
      <p:sp>
        <p:nvSpPr>
          <p:cNvPr id="4" name="Rectangle: Rounded Corners 5">
            <a:extLst>
              <a:ext uri="{FF2B5EF4-FFF2-40B4-BE49-F238E27FC236}">
                <a16:creationId xmlns:a16="http://schemas.microsoft.com/office/drawing/2014/main" id="{8B547A75-41A4-67FC-E692-B9196AECC723}"/>
              </a:ext>
            </a:extLst>
          </p:cNvPr>
          <p:cNvSpPr/>
          <p:nvPr/>
        </p:nvSpPr>
        <p:spPr>
          <a:xfrm>
            <a:off x="9315704" y="3762304"/>
            <a:ext cx="934720" cy="382949"/>
          </a:xfrm>
          <a:prstGeom prst="round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2">
            <a:extLst>
              <a:ext uri="{FF2B5EF4-FFF2-40B4-BE49-F238E27FC236}">
                <a16:creationId xmlns:a16="http://schemas.microsoft.com/office/drawing/2014/main" id="{8DA326BB-802B-5FAF-C678-A41B7CE1D0C2}"/>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663035" y="4398649"/>
            <a:ext cx="2267270" cy="19304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6">
            <a:extLst>
              <a:ext uri="{FF2B5EF4-FFF2-40B4-BE49-F238E27FC236}">
                <a16:creationId xmlns:a16="http://schemas.microsoft.com/office/drawing/2014/main" id="{1848B97E-7E15-6E4B-178A-1420B0BD16F1}"/>
              </a:ext>
            </a:extLst>
          </p:cNvPr>
          <p:cNvSpPr txBox="1"/>
          <p:nvPr/>
        </p:nvSpPr>
        <p:spPr>
          <a:xfrm>
            <a:off x="3461368" y="4707275"/>
            <a:ext cx="6097348" cy="147732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mj-lt"/>
                <a:ea typeface="+mn-ea"/>
                <a:cs typeface="+mn-cs"/>
              </a:rPr>
              <a:t>“In an age of explosive development in the realm of medical technology, it is unnerving to find that the discoveries of Salk, Sabin, and even Pasteur remain irrelevant to much of humanit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accent2"/>
                </a:solidFill>
                <a:effectLst/>
                <a:uLnTx/>
                <a:uFillTx/>
                <a:latin typeface="+mj-lt"/>
                <a:ea typeface="+mn-ea"/>
                <a:cs typeface="+mn-cs"/>
              </a:rPr>
              <a:t>Paul Farmer, MD, PhD, Medical Anthropologist and Physician</a:t>
            </a:r>
          </a:p>
        </p:txBody>
      </p:sp>
    </p:spTree>
    <p:extLst>
      <p:ext uri="{BB962C8B-B14F-4D97-AF65-F5344CB8AC3E}">
        <p14:creationId xmlns:p14="http://schemas.microsoft.com/office/powerpoint/2010/main" val="2661040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3106A99A-2DAF-CAC1-6312-6D459994F7BD}"/>
              </a:ext>
            </a:extLst>
          </p:cNvPr>
          <p:cNvGraphicFramePr>
            <a:graphicFrameLocks noGrp="1"/>
          </p:cNvGraphicFramePr>
          <p:nvPr/>
        </p:nvGraphicFramePr>
        <p:xfrm>
          <a:off x="831999" y="1368082"/>
          <a:ext cx="10528002" cy="3538812"/>
        </p:xfrm>
        <a:graphic>
          <a:graphicData uri="http://schemas.openxmlformats.org/drawingml/2006/table">
            <a:tbl>
              <a:tblPr firstRow="1" bandRow="1">
                <a:effectLst/>
                <a:tableStyleId>{5C22544A-7EE6-4342-B048-85BDC9FD1C3A}</a:tableStyleId>
              </a:tblPr>
              <a:tblGrid>
                <a:gridCol w="4157980">
                  <a:extLst>
                    <a:ext uri="{9D8B030D-6E8A-4147-A177-3AD203B41FA5}">
                      <a16:colId xmlns:a16="http://schemas.microsoft.com/office/drawing/2014/main" val="126022959"/>
                    </a:ext>
                  </a:extLst>
                </a:gridCol>
                <a:gridCol w="3185011">
                  <a:extLst>
                    <a:ext uri="{9D8B030D-6E8A-4147-A177-3AD203B41FA5}">
                      <a16:colId xmlns:a16="http://schemas.microsoft.com/office/drawing/2014/main" val="4099700268"/>
                    </a:ext>
                  </a:extLst>
                </a:gridCol>
                <a:gridCol w="3185011">
                  <a:extLst>
                    <a:ext uri="{9D8B030D-6E8A-4147-A177-3AD203B41FA5}">
                      <a16:colId xmlns:a16="http://schemas.microsoft.com/office/drawing/2014/main" val="3711657813"/>
                    </a:ext>
                  </a:extLst>
                </a:gridCol>
              </a:tblGrid>
              <a:tr h="493282">
                <a:tc>
                  <a:txBody>
                    <a:bodyPr/>
                    <a:lstStyle/>
                    <a:p>
                      <a:endParaRPr lang="en-US" sz="1600" dirty="0"/>
                    </a:p>
                  </a:txBody>
                  <a:tcPr>
                    <a:lnL w="12700" cap="flat" cmpd="sng" algn="ctr">
                      <a:noFill/>
                      <a:prstDash val="solid"/>
                      <a:round/>
                      <a:headEnd type="none" w="med" len="med"/>
                      <a:tailEnd type="none" w="med" len="med"/>
                    </a:lnL>
                    <a:lnR w="1270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solidFill>
                        <a:srgbClr val="FF671F"/>
                      </a:solidFill>
                      <a:prstDash val="solid"/>
                      <a:round/>
                      <a:headEnd type="none" w="med" len="med"/>
                      <a:tailEnd type="none" w="med" len="med"/>
                    </a:lnB>
                    <a:noFill/>
                  </a:tcPr>
                </a:tc>
                <a:tc>
                  <a:txBody>
                    <a:bodyPr/>
                    <a:lstStyle/>
                    <a:p>
                      <a:pPr algn="ctr"/>
                      <a:r>
                        <a:rPr lang="en-US" sz="1600" dirty="0"/>
                        <a:t>United States</a:t>
                      </a:r>
                    </a:p>
                  </a:txBody>
                  <a:tcPr>
                    <a:lnL w="12700" cap="flat" cmpd="sng" algn="ctr">
                      <a:noFill/>
                      <a:prstDash val="dot"/>
                      <a:round/>
                      <a:headEnd type="none" w="med" len="med"/>
                      <a:tailEnd type="none" w="med" len="med"/>
                    </a:lnL>
                    <a:lnR w="1270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solidFill>
                        <a:srgbClr val="FF671F"/>
                      </a:solidFill>
                      <a:prstDash val="solid"/>
                      <a:round/>
                      <a:headEnd type="none" w="med" len="med"/>
                      <a:tailEnd type="none" w="med" len="med"/>
                    </a:lnB>
                    <a:noFill/>
                  </a:tcPr>
                </a:tc>
                <a:tc>
                  <a:txBody>
                    <a:bodyPr/>
                    <a:lstStyle/>
                    <a:p>
                      <a:pPr algn="ctr"/>
                      <a:r>
                        <a:rPr lang="en-US" sz="1600" dirty="0"/>
                        <a:t>Haiti</a:t>
                      </a:r>
                    </a:p>
                  </a:txBody>
                  <a:tcPr>
                    <a:lnL w="12700" cap="flat" cmpd="sng" algn="ctr">
                      <a:noFill/>
                      <a:prstDash val="dot"/>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671F"/>
                      </a:solidFill>
                      <a:prstDash val="solid"/>
                      <a:round/>
                      <a:headEnd type="none" w="med" len="med"/>
                      <a:tailEnd type="none" w="med" len="med"/>
                    </a:lnB>
                    <a:noFill/>
                  </a:tcPr>
                </a:tc>
                <a:extLst>
                  <a:ext uri="{0D108BD9-81ED-4DB2-BD59-A6C34878D82A}">
                    <a16:rowId xmlns:a16="http://schemas.microsoft.com/office/drawing/2014/main" val="2011182548"/>
                  </a:ext>
                </a:extLst>
              </a:tr>
              <a:tr h="493282">
                <a:tc>
                  <a:txBody>
                    <a:bodyPr/>
                    <a:lstStyle/>
                    <a:p>
                      <a:r>
                        <a:rPr lang="en-US" sz="1600" dirty="0">
                          <a:solidFill>
                            <a:schemeClr val="bg1"/>
                          </a:solidFill>
                        </a:rPr>
                        <a:t>Gross National Income</a:t>
                      </a:r>
                    </a:p>
                  </a:txBody>
                  <a:tcPr anchor="ctr">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rgbClr val="FF671F"/>
                      </a:solidFill>
                      <a:prstDash val="solid"/>
                      <a:round/>
                      <a:headEnd type="none" w="med" len="med"/>
                      <a:tailEnd type="none" w="med" len="med"/>
                    </a:lnT>
                    <a:noFill/>
                  </a:tcPr>
                </a:tc>
                <a:tc>
                  <a:txBody>
                    <a:bodyPr/>
                    <a:lstStyle/>
                    <a:p>
                      <a:pPr algn="ctr"/>
                      <a:r>
                        <a:rPr lang="en-US" sz="1600" dirty="0">
                          <a:solidFill>
                            <a:schemeClr val="bg1"/>
                          </a:solidFill>
                        </a:rPr>
                        <a:t>$70,249</a:t>
                      </a:r>
                    </a:p>
                  </a:txBody>
                  <a:tcPr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rgbClr val="FF671F"/>
                      </a:solidFill>
                      <a:prstDash val="solid"/>
                      <a:round/>
                      <a:headEnd type="none" w="med" len="med"/>
                      <a:tailEnd type="none" w="med" len="med"/>
                    </a:lnT>
                    <a:noFill/>
                  </a:tcPr>
                </a:tc>
                <a:tc>
                  <a:txBody>
                    <a:bodyPr/>
                    <a:lstStyle/>
                    <a:p>
                      <a:pPr algn="ctr"/>
                      <a:r>
                        <a:rPr lang="en-US" sz="1600" dirty="0">
                          <a:solidFill>
                            <a:schemeClr val="bg1"/>
                          </a:solidFill>
                        </a:rPr>
                        <a:t>$1,730</a:t>
                      </a:r>
                    </a:p>
                  </a:txBody>
                  <a:tcPr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rgbClr val="FF671F"/>
                      </a:solidFill>
                      <a:prstDash val="solid"/>
                      <a:round/>
                      <a:headEnd type="none" w="med" len="med"/>
                      <a:tailEnd type="none" w="med" len="med"/>
                    </a:lnT>
                    <a:noFill/>
                  </a:tcPr>
                </a:tc>
                <a:extLst>
                  <a:ext uri="{0D108BD9-81ED-4DB2-BD59-A6C34878D82A}">
                    <a16:rowId xmlns:a16="http://schemas.microsoft.com/office/drawing/2014/main" val="1618657764"/>
                  </a:ext>
                </a:extLst>
              </a:tr>
              <a:tr h="493282">
                <a:tc>
                  <a:txBody>
                    <a:bodyPr/>
                    <a:lstStyle/>
                    <a:p>
                      <a:r>
                        <a:rPr lang="en-US" sz="1600" dirty="0">
                          <a:solidFill>
                            <a:schemeClr val="bg1"/>
                          </a:solidFill>
                        </a:rPr>
                        <a:t>Poor Access to Sanitation</a:t>
                      </a:r>
                    </a:p>
                  </a:txBody>
                  <a:tcPr anchor="ctr">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noFill/>
                  </a:tcPr>
                </a:tc>
                <a:tc>
                  <a:txBody>
                    <a:bodyPr/>
                    <a:lstStyle/>
                    <a:p>
                      <a:pPr algn="ctr"/>
                      <a:r>
                        <a:rPr lang="en-US" sz="1600" dirty="0">
                          <a:solidFill>
                            <a:schemeClr val="bg1"/>
                          </a:solidFill>
                        </a:rPr>
                        <a:t>0.32%</a:t>
                      </a:r>
                    </a:p>
                  </a:txBody>
                  <a:tcPr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noFill/>
                  </a:tcPr>
                </a:tc>
                <a:tc>
                  <a:txBody>
                    <a:bodyPr/>
                    <a:lstStyle/>
                    <a:p>
                      <a:pPr algn="ctr"/>
                      <a:r>
                        <a:rPr lang="en-US" sz="1600" dirty="0">
                          <a:solidFill>
                            <a:schemeClr val="bg1"/>
                          </a:solidFill>
                        </a:rPr>
                        <a:t>25%</a:t>
                      </a:r>
                    </a:p>
                  </a:txBody>
                  <a:tcPr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noFill/>
                  </a:tcPr>
                </a:tc>
                <a:extLst>
                  <a:ext uri="{0D108BD9-81ED-4DB2-BD59-A6C34878D82A}">
                    <a16:rowId xmlns:a16="http://schemas.microsoft.com/office/drawing/2014/main" val="4292681021"/>
                  </a:ext>
                </a:extLst>
              </a:tr>
              <a:tr h="493282">
                <a:tc>
                  <a:txBody>
                    <a:bodyPr/>
                    <a:lstStyle/>
                    <a:p>
                      <a:r>
                        <a:rPr lang="en-US" sz="1600" dirty="0">
                          <a:solidFill>
                            <a:schemeClr val="bg1"/>
                          </a:solidFill>
                        </a:rPr>
                        <a:t>Poor Access to Clean Water</a:t>
                      </a:r>
                    </a:p>
                  </a:txBody>
                  <a:tcPr anchor="ctr">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noFill/>
                  </a:tcPr>
                </a:tc>
                <a:tc>
                  <a:txBody>
                    <a:bodyPr/>
                    <a:lstStyle/>
                    <a:p>
                      <a:pPr algn="ctr"/>
                      <a:r>
                        <a:rPr lang="en-US" sz="1600" dirty="0">
                          <a:solidFill>
                            <a:schemeClr val="bg1"/>
                          </a:solidFill>
                        </a:rPr>
                        <a:t>0.6%</a:t>
                      </a:r>
                    </a:p>
                  </a:txBody>
                  <a:tcPr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noFill/>
                  </a:tcPr>
                </a:tc>
                <a:tc>
                  <a:txBody>
                    <a:bodyPr/>
                    <a:lstStyle/>
                    <a:p>
                      <a:pPr algn="ctr"/>
                      <a:r>
                        <a:rPr lang="en-US" sz="1600" dirty="0">
                          <a:solidFill>
                            <a:schemeClr val="bg1"/>
                          </a:solidFill>
                        </a:rPr>
                        <a:t>50%</a:t>
                      </a:r>
                    </a:p>
                  </a:txBody>
                  <a:tcPr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noFill/>
                  </a:tcPr>
                </a:tc>
                <a:extLst>
                  <a:ext uri="{0D108BD9-81ED-4DB2-BD59-A6C34878D82A}">
                    <a16:rowId xmlns:a16="http://schemas.microsoft.com/office/drawing/2014/main" val="374601375"/>
                  </a:ext>
                </a:extLst>
              </a:tr>
              <a:tr h="493282">
                <a:tc>
                  <a:txBody>
                    <a:bodyPr/>
                    <a:lstStyle/>
                    <a:p>
                      <a:r>
                        <a:rPr lang="en-US" sz="1600" dirty="0">
                          <a:solidFill>
                            <a:schemeClr val="bg1"/>
                          </a:solidFill>
                        </a:rPr>
                        <a:t>Food Insecurity</a:t>
                      </a:r>
                    </a:p>
                  </a:txBody>
                  <a:tcPr anchor="ctr">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noFill/>
                  </a:tcPr>
                </a:tc>
                <a:tc>
                  <a:txBody>
                    <a:bodyPr/>
                    <a:lstStyle/>
                    <a:p>
                      <a:pPr algn="ctr"/>
                      <a:r>
                        <a:rPr lang="en-US" sz="1600" dirty="0">
                          <a:solidFill>
                            <a:schemeClr val="bg1"/>
                          </a:solidFill>
                        </a:rPr>
                        <a:t>12.5%</a:t>
                      </a:r>
                    </a:p>
                  </a:txBody>
                  <a:tcPr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noFill/>
                  </a:tcPr>
                </a:tc>
                <a:tc>
                  <a:txBody>
                    <a:bodyPr/>
                    <a:lstStyle/>
                    <a:p>
                      <a:pPr algn="ctr"/>
                      <a:r>
                        <a:rPr lang="en-US" sz="1600" dirty="0">
                          <a:solidFill>
                            <a:schemeClr val="bg1"/>
                          </a:solidFill>
                        </a:rPr>
                        <a:t>30%</a:t>
                      </a:r>
                    </a:p>
                  </a:txBody>
                  <a:tcPr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noFill/>
                  </a:tcPr>
                </a:tc>
                <a:extLst>
                  <a:ext uri="{0D108BD9-81ED-4DB2-BD59-A6C34878D82A}">
                    <a16:rowId xmlns:a16="http://schemas.microsoft.com/office/drawing/2014/main" val="4208909847"/>
                  </a:ext>
                </a:extLst>
              </a:tr>
              <a:tr h="493282">
                <a:tc>
                  <a:txBody>
                    <a:bodyPr/>
                    <a:lstStyle/>
                    <a:p>
                      <a:r>
                        <a:rPr lang="en-US" sz="1600" b="0" dirty="0">
                          <a:solidFill>
                            <a:schemeClr val="accent2"/>
                          </a:solidFill>
                          <a:effectLst/>
                        </a:rPr>
                        <a:t>Life Expectancy</a:t>
                      </a:r>
                    </a:p>
                  </a:txBody>
                  <a:tcPr anchor="ctr">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noFill/>
                  </a:tcPr>
                </a:tc>
                <a:tc>
                  <a:txBody>
                    <a:bodyPr/>
                    <a:lstStyle/>
                    <a:p>
                      <a:pPr algn="ctr"/>
                      <a:r>
                        <a:rPr lang="en-US" sz="1600" b="0" dirty="0">
                          <a:solidFill>
                            <a:schemeClr val="accent2"/>
                          </a:solidFill>
                          <a:effectLst/>
                        </a:rPr>
                        <a:t>76.1</a:t>
                      </a:r>
                    </a:p>
                  </a:txBody>
                  <a:tcPr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noFill/>
                  </a:tcPr>
                </a:tc>
                <a:tc>
                  <a:txBody>
                    <a:bodyPr/>
                    <a:lstStyle/>
                    <a:p>
                      <a:pPr algn="ctr"/>
                      <a:r>
                        <a:rPr lang="en-US" sz="1600" b="0" dirty="0">
                          <a:solidFill>
                            <a:schemeClr val="accent2"/>
                          </a:solidFill>
                          <a:effectLst/>
                        </a:rPr>
                        <a:t>63</a:t>
                      </a:r>
                    </a:p>
                  </a:txBody>
                  <a:tcPr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noFill/>
                  </a:tcPr>
                </a:tc>
                <a:extLst>
                  <a:ext uri="{0D108BD9-81ED-4DB2-BD59-A6C34878D82A}">
                    <a16:rowId xmlns:a16="http://schemas.microsoft.com/office/drawing/2014/main" val="3052689173"/>
                  </a:ext>
                </a:extLst>
              </a:tr>
              <a:tr h="493282">
                <a:tc>
                  <a:txBody>
                    <a:bodyPr/>
                    <a:lstStyle/>
                    <a:p>
                      <a:r>
                        <a:rPr lang="en-US" sz="1600" b="0" dirty="0">
                          <a:solidFill>
                            <a:schemeClr val="accent2"/>
                          </a:solidFill>
                          <a:effectLst/>
                        </a:rPr>
                        <a:t>Annual per capita spend on healthcare ($3.82 trillion)</a:t>
                      </a:r>
                    </a:p>
                  </a:txBody>
                  <a:tcPr anchor="ctr">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noFill/>
                  </a:tcPr>
                </a:tc>
                <a:tc>
                  <a:txBody>
                    <a:bodyPr/>
                    <a:lstStyle/>
                    <a:p>
                      <a:pPr algn="ctr"/>
                      <a:r>
                        <a:rPr lang="en-US" sz="1600" b="0" dirty="0">
                          <a:solidFill>
                            <a:schemeClr val="accent2"/>
                          </a:solidFill>
                          <a:effectLst/>
                        </a:rPr>
                        <a:t>$12,600</a:t>
                      </a:r>
                    </a:p>
                  </a:txBody>
                  <a:tcPr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noFill/>
                  </a:tcPr>
                </a:tc>
                <a:tc>
                  <a:txBody>
                    <a:bodyPr/>
                    <a:lstStyle/>
                    <a:p>
                      <a:pPr algn="ctr"/>
                      <a:r>
                        <a:rPr lang="en-US" sz="1600" b="0" dirty="0">
                          <a:solidFill>
                            <a:schemeClr val="accent2"/>
                          </a:solidFill>
                          <a:effectLst/>
                        </a:rPr>
                        <a:t>$83</a:t>
                      </a:r>
                    </a:p>
                  </a:txBody>
                  <a:tcPr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noFill/>
                  </a:tcPr>
                </a:tc>
                <a:extLst>
                  <a:ext uri="{0D108BD9-81ED-4DB2-BD59-A6C34878D82A}">
                    <a16:rowId xmlns:a16="http://schemas.microsoft.com/office/drawing/2014/main" val="1610346778"/>
                  </a:ext>
                </a:extLst>
              </a:tr>
            </a:tbl>
          </a:graphicData>
        </a:graphic>
      </p:graphicFrame>
      <p:cxnSp>
        <p:nvCxnSpPr>
          <p:cNvPr id="6" name="Straight Arrow Connector 5">
            <a:extLst>
              <a:ext uri="{FF2B5EF4-FFF2-40B4-BE49-F238E27FC236}">
                <a16:creationId xmlns:a16="http://schemas.microsoft.com/office/drawing/2014/main" id="{69F6CB9A-2BB3-58C3-A24A-30D0F17CDDD3}"/>
              </a:ext>
            </a:extLst>
          </p:cNvPr>
          <p:cNvCxnSpPr/>
          <p:nvPr/>
        </p:nvCxnSpPr>
        <p:spPr>
          <a:xfrm>
            <a:off x="7095281" y="4618298"/>
            <a:ext cx="2210765" cy="0"/>
          </a:xfrm>
          <a:prstGeom prst="straightConnector1">
            <a:avLst/>
          </a:prstGeom>
          <a:ln w="47625">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graphicFrame>
        <p:nvGraphicFramePr>
          <p:cNvPr id="7" name="Table 6">
            <a:extLst>
              <a:ext uri="{FF2B5EF4-FFF2-40B4-BE49-F238E27FC236}">
                <a16:creationId xmlns:a16="http://schemas.microsoft.com/office/drawing/2014/main" id="{1837AAD6-9FE4-0AC9-BFAD-4BE4B77EC871}"/>
              </a:ext>
            </a:extLst>
          </p:cNvPr>
          <p:cNvGraphicFramePr>
            <a:graphicFrameLocks noGrp="1"/>
          </p:cNvGraphicFramePr>
          <p:nvPr/>
        </p:nvGraphicFramePr>
        <p:xfrm>
          <a:off x="831999" y="4906894"/>
          <a:ext cx="10528002" cy="1066800"/>
        </p:xfrm>
        <a:graphic>
          <a:graphicData uri="http://schemas.openxmlformats.org/drawingml/2006/table">
            <a:tbl>
              <a:tblPr firstRow="1" bandRow="1">
                <a:effectLst/>
                <a:tableStyleId>{5C22544A-7EE6-4342-B048-85BDC9FD1C3A}</a:tableStyleId>
              </a:tblPr>
              <a:tblGrid>
                <a:gridCol w="4157980">
                  <a:extLst>
                    <a:ext uri="{9D8B030D-6E8A-4147-A177-3AD203B41FA5}">
                      <a16:colId xmlns:a16="http://schemas.microsoft.com/office/drawing/2014/main" val="4140008020"/>
                    </a:ext>
                  </a:extLst>
                </a:gridCol>
                <a:gridCol w="3185011">
                  <a:extLst>
                    <a:ext uri="{9D8B030D-6E8A-4147-A177-3AD203B41FA5}">
                      <a16:colId xmlns:a16="http://schemas.microsoft.com/office/drawing/2014/main" val="456657260"/>
                    </a:ext>
                  </a:extLst>
                </a:gridCol>
                <a:gridCol w="3185011">
                  <a:extLst>
                    <a:ext uri="{9D8B030D-6E8A-4147-A177-3AD203B41FA5}">
                      <a16:colId xmlns:a16="http://schemas.microsoft.com/office/drawing/2014/main" val="999654280"/>
                    </a:ext>
                  </a:extLst>
                </a:gridCol>
              </a:tblGrid>
              <a:tr h="493282">
                <a:tc>
                  <a:txBody>
                    <a:bodyPr/>
                    <a:lstStyle/>
                    <a:p>
                      <a:r>
                        <a:rPr lang="en-US" sz="1600" b="0" dirty="0">
                          <a:solidFill>
                            <a:schemeClr val="accent2"/>
                          </a:solidFill>
                          <a:effectLst>
                            <a:outerShdw blurRad="38100" dist="38100" dir="2700000" algn="tl">
                              <a:srgbClr val="000000">
                                <a:alpha val="43137"/>
                              </a:srgbClr>
                            </a:outerShdw>
                          </a:effectLst>
                        </a:rPr>
                        <a:t>Annual per capita spend on waste due to </a:t>
                      </a:r>
                      <a:r>
                        <a:rPr lang="en-US" sz="1600" b="0" i="0" u="sng" dirty="0">
                          <a:solidFill>
                            <a:schemeClr val="accent2"/>
                          </a:solidFill>
                          <a:effectLst>
                            <a:outerShdw blurRad="38100" dist="38100" dir="2700000" algn="tl">
                              <a:srgbClr val="000000">
                                <a:alpha val="43137"/>
                              </a:srgbClr>
                            </a:outerShdw>
                          </a:effectLst>
                        </a:rPr>
                        <a:t>administrative, failure of care delivery, over treatment, poor care coordination</a:t>
                      </a:r>
                      <a:r>
                        <a:rPr lang="en-US" sz="1600" b="0" dirty="0">
                          <a:solidFill>
                            <a:schemeClr val="accent2"/>
                          </a:solidFill>
                          <a:effectLst>
                            <a:outerShdw blurRad="38100" dist="38100" dir="2700000" algn="tl">
                              <a:srgbClr val="000000">
                                <a:alpha val="43137"/>
                              </a:srgbClr>
                            </a:outerShdw>
                          </a:effectLst>
                        </a:rPr>
                        <a:t> ($760-$935 billion)</a:t>
                      </a:r>
                    </a:p>
                  </a:txBody>
                  <a:tcPr anchor="ctr">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B w="12700" cap="flat" cmpd="sng" algn="ctr">
                      <a:noFill/>
                      <a:prstDash val="solid"/>
                      <a:round/>
                      <a:headEnd type="none" w="med" len="med"/>
                      <a:tailEnd type="none" w="med" len="med"/>
                    </a:lnB>
                    <a:noFill/>
                  </a:tcPr>
                </a:tc>
                <a:tc>
                  <a:txBody>
                    <a:bodyPr/>
                    <a:lstStyle/>
                    <a:p>
                      <a:pPr algn="ctr"/>
                      <a:r>
                        <a:rPr lang="en-US" sz="1600" b="0" dirty="0">
                          <a:solidFill>
                            <a:schemeClr val="accent2"/>
                          </a:solidFill>
                          <a:effectLst/>
                        </a:rPr>
                        <a:t>$3,000</a:t>
                      </a:r>
                    </a:p>
                  </a:txBody>
                  <a:tcPr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B w="12700" cap="flat" cmpd="sng" algn="ctr">
                      <a:noFill/>
                      <a:prstDash val="solid"/>
                      <a:round/>
                      <a:headEnd type="none" w="med" len="med"/>
                      <a:tailEnd type="none" w="med" len="med"/>
                    </a:lnB>
                    <a:noFill/>
                  </a:tcPr>
                </a:tc>
                <a:tc>
                  <a:txBody>
                    <a:bodyPr/>
                    <a:lstStyle/>
                    <a:p>
                      <a:pPr algn="ctr"/>
                      <a:r>
                        <a:rPr lang="en-US" sz="1600" b="0" dirty="0">
                          <a:solidFill>
                            <a:schemeClr val="accent2"/>
                          </a:solidFill>
                          <a:effectLst/>
                        </a:rPr>
                        <a:t>—</a:t>
                      </a:r>
                    </a:p>
                  </a:txBody>
                  <a:tcPr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B w="12700" cap="flat" cmpd="sng" algn="ctr">
                      <a:noFill/>
                      <a:prstDash val="solid"/>
                      <a:round/>
                      <a:headEnd type="none" w="med" len="med"/>
                      <a:tailEnd type="none" w="med" len="med"/>
                    </a:lnB>
                    <a:noFill/>
                  </a:tcPr>
                </a:tc>
                <a:extLst>
                  <a:ext uri="{0D108BD9-81ED-4DB2-BD59-A6C34878D82A}">
                    <a16:rowId xmlns:a16="http://schemas.microsoft.com/office/drawing/2014/main" val="2801760429"/>
                  </a:ext>
                </a:extLst>
              </a:tr>
            </a:tbl>
          </a:graphicData>
        </a:graphic>
      </p:graphicFrame>
      <p:cxnSp>
        <p:nvCxnSpPr>
          <p:cNvPr id="15" name="Straight Arrow Connector 14">
            <a:extLst>
              <a:ext uri="{FF2B5EF4-FFF2-40B4-BE49-F238E27FC236}">
                <a16:creationId xmlns:a16="http://schemas.microsoft.com/office/drawing/2014/main" id="{58BBC0F8-6FC9-2EA0-6ADF-ED1799D1C14C}"/>
              </a:ext>
            </a:extLst>
          </p:cNvPr>
          <p:cNvCxnSpPr>
            <a:cxnSpLocks/>
          </p:cNvCxnSpPr>
          <p:nvPr/>
        </p:nvCxnSpPr>
        <p:spPr>
          <a:xfrm flipV="1">
            <a:off x="7026876" y="4679092"/>
            <a:ext cx="2446638" cy="761202"/>
          </a:xfrm>
          <a:prstGeom prst="straightConnector1">
            <a:avLst/>
          </a:prstGeom>
          <a:ln w="47625">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CF4A7F7-275C-6D50-CEBD-46E29565F6D1}"/>
              </a:ext>
            </a:extLst>
          </p:cNvPr>
          <p:cNvSpPr txBox="1">
            <a:spLocks/>
          </p:cNvSpPr>
          <p:nvPr/>
        </p:nvSpPr>
        <p:spPr>
          <a:xfrm>
            <a:off x="516367" y="257672"/>
            <a:ext cx="11441953" cy="535125"/>
          </a:xfrm>
          <a:prstGeom prst="rect">
            <a:avLst/>
          </a:prstGeom>
        </p:spPr>
        <p:txBody>
          <a:bodyPr/>
          <a:lstStyle>
            <a:lvl1pPr>
              <a:defRPr>
                <a:latin typeface="+mj-lt"/>
                <a:ea typeface="+mj-ea"/>
                <a:cs typeface="+mj-cs"/>
              </a:defRPr>
            </a:lvl1pPr>
          </a:lstStyle>
          <a:p>
            <a:r>
              <a:rPr lang="en-US" sz="4000" kern="0" dirty="0">
                <a:solidFill>
                  <a:schemeClr val="bg1"/>
                </a:solidFill>
                <a:latin typeface="Source Serif Pro" panose="02040603050405020204" pitchFamily="18" charset="0"/>
                <a:ea typeface="Source Serif Pro" panose="02040603050405020204" pitchFamily="18" charset="0"/>
              </a:rPr>
              <a:t>How does the United States Compare?</a:t>
            </a:r>
          </a:p>
        </p:txBody>
      </p:sp>
    </p:spTree>
    <p:extLst>
      <p:ext uri="{BB962C8B-B14F-4D97-AF65-F5344CB8AC3E}">
        <p14:creationId xmlns:p14="http://schemas.microsoft.com/office/powerpoint/2010/main" val="4255328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37"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barn(outVertical)">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xit" presetSubtype="0" fill="hold" nodeType="clickEffect">
                                  <p:stCondLst>
                                    <p:cond delay="0"/>
                                  </p:stCondLst>
                                  <p:childTnLst>
                                    <p:animEffect transition="out" filter="fade">
                                      <p:cBhvr>
                                        <p:cTn id="16" dur="500"/>
                                        <p:tgtEl>
                                          <p:spTgt spid="6"/>
                                        </p:tgtEl>
                                      </p:cBhvr>
                                    </p:animEffect>
                                    <p:set>
                                      <p:cBhvr>
                                        <p:cTn id="17" dur="1" fill="hold">
                                          <p:stCondLst>
                                            <p:cond delay="499"/>
                                          </p:stCondLst>
                                        </p:cTn>
                                        <p:tgtEl>
                                          <p:spTgt spid="6"/>
                                        </p:tgtEl>
                                        <p:attrNameLst>
                                          <p:attrName>style.visibility</p:attrName>
                                        </p:attrNameLst>
                                      </p:cBhvr>
                                      <p:to>
                                        <p:strVal val="hidden"/>
                                      </p:to>
                                    </p:set>
                                  </p:childTnLst>
                                </p:cTn>
                              </p:par>
                            </p:childTnLst>
                          </p:cTn>
                        </p:par>
                        <p:par>
                          <p:cTn id="18" fill="hold">
                            <p:stCondLst>
                              <p:cond delay="500"/>
                            </p:stCondLst>
                            <p:childTnLst>
                              <p:par>
                                <p:cTn id="19" presetID="16" presetClass="entr" presetSubtype="37" fill="hold" nodeType="afterEffect">
                                  <p:stCondLst>
                                    <p:cond delay="0"/>
                                  </p:stCondLst>
                                  <p:childTnLst>
                                    <p:set>
                                      <p:cBhvr>
                                        <p:cTn id="20" dur="1" fill="hold">
                                          <p:stCondLst>
                                            <p:cond delay="0"/>
                                          </p:stCondLst>
                                        </p:cTn>
                                        <p:tgtEl>
                                          <p:spTgt spid="15"/>
                                        </p:tgtEl>
                                        <p:attrNameLst>
                                          <p:attrName>style.visibility</p:attrName>
                                        </p:attrNameLst>
                                      </p:cBhvr>
                                      <p:to>
                                        <p:strVal val="visible"/>
                                      </p:to>
                                    </p:set>
                                    <p:animEffect transition="in" filter="barn(outVertical)">
                                      <p:cBhvr>
                                        <p:cTn id="21"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A79C9A-7166-12AB-6798-C47DCE5D003E}"/>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B469C4AA-D76D-2A22-2575-F94361F7C37A}"/>
              </a:ext>
            </a:extLst>
          </p:cNvPr>
          <p:cNvSpPr>
            <a:spLocks noGrp="1"/>
          </p:cNvSpPr>
          <p:nvPr>
            <p:ph type="body" sz="quarter" idx="10"/>
          </p:nvPr>
        </p:nvSpPr>
        <p:spPr/>
        <p:txBody>
          <a:bodyPr/>
          <a:lstStyle/>
          <a:p>
            <a:r>
              <a:rPr lang="en-US" sz="1800" dirty="0"/>
              <a:t>Data by Group is Available for Review and Part of Manuscript Submission</a:t>
            </a:r>
          </a:p>
          <a:p>
            <a:endParaRPr lang="en-US" dirty="0"/>
          </a:p>
          <a:p>
            <a:endParaRPr lang="en-US" dirty="0"/>
          </a:p>
        </p:txBody>
      </p:sp>
      <p:sp>
        <p:nvSpPr>
          <p:cNvPr id="3" name="TextBox 2">
            <a:extLst>
              <a:ext uri="{FF2B5EF4-FFF2-40B4-BE49-F238E27FC236}">
                <a16:creationId xmlns:a16="http://schemas.microsoft.com/office/drawing/2014/main" id="{4E2FFE72-260B-5DE0-03E6-E93D3B216C9D}"/>
              </a:ext>
            </a:extLst>
          </p:cNvPr>
          <p:cNvSpPr txBox="1"/>
          <p:nvPr/>
        </p:nvSpPr>
        <p:spPr>
          <a:xfrm>
            <a:off x="4853763" y="2521059"/>
            <a:ext cx="6092456" cy="181588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mj-lt"/>
                <a:ea typeface="+mn-ea"/>
                <a:cs typeface="+mn-cs"/>
              </a:rPr>
              <a:t>“It is very expensive to give bad medical care to poor people in a rich countr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chemeClr val="accent2"/>
                </a:solidFill>
                <a:effectLst/>
                <a:uLnTx/>
                <a:uFillTx/>
                <a:latin typeface="+mj-lt"/>
                <a:ea typeface="+mn-ea"/>
                <a:cs typeface="+mn-cs"/>
              </a:rPr>
              <a:t>Paul Farmer, MD, PhD, Medical Anthropologist and Physician</a:t>
            </a:r>
          </a:p>
        </p:txBody>
      </p:sp>
      <p:pic>
        <p:nvPicPr>
          <p:cNvPr id="4" name="Picture 2">
            <a:extLst>
              <a:ext uri="{FF2B5EF4-FFF2-40B4-BE49-F238E27FC236}">
                <a16:creationId xmlns:a16="http://schemas.microsoft.com/office/drawing/2014/main" id="{2B361C4C-CBB6-4242-59C3-9A78BCDD653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75096" y="2009775"/>
            <a:ext cx="3333750" cy="2838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543411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8452301-E094-9A94-EF9D-65A8526F3CC2}"/>
              </a:ext>
            </a:extLst>
          </p:cNvPr>
          <p:cNvSpPr>
            <a:spLocks noGrp="1"/>
          </p:cNvSpPr>
          <p:nvPr>
            <p:ph type="title"/>
          </p:nvPr>
        </p:nvSpPr>
        <p:spPr>
          <a:xfrm>
            <a:off x="516367" y="235018"/>
            <a:ext cx="9834641" cy="847316"/>
          </a:xfrm>
        </p:spPr>
        <p:txBody>
          <a:bodyPr>
            <a:noAutofit/>
          </a:bodyPr>
          <a:lstStyle/>
          <a:p>
            <a:r>
              <a:rPr lang="en-US" sz="2800" dirty="0"/>
              <a:t>In the US, Zip Code &amp; Street Level Divisions Have Different Care Experiences</a:t>
            </a:r>
          </a:p>
        </p:txBody>
      </p:sp>
      <p:pic>
        <p:nvPicPr>
          <p:cNvPr id="6" name="Picture 5">
            <a:extLst>
              <a:ext uri="{FF2B5EF4-FFF2-40B4-BE49-F238E27FC236}">
                <a16:creationId xmlns:a16="http://schemas.microsoft.com/office/drawing/2014/main" id="{CE66DDDE-D034-A1CD-8B30-79FF8E73315A}"/>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3949266" y="1320031"/>
            <a:ext cx="4976954" cy="4797399"/>
          </a:xfrm>
          <a:prstGeom prst="rect">
            <a:avLst/>
          </a:prstGeom>
          <a:ln>
            <a:noFill/>
          </a:ln>
        </p:spPr>
      </p:pic>
      <p:pic>
        <p:nvPicPr>
          <p:cNvPr id="7" name="Picture 6">
            <a:extLst>
              <a:ext uri="{FF2B5EF4-FFF2-40B4-BE49-F238E27FC236}">
                <a16:creationId xmlns:a16="http://schemas.microsoft.com/office/drawing/2014/main" id="{0165EA3F-E3A3-BB77-5CC7-48ECBE2914D0}"/>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9028460" y="3585117"/>
            <a:ext cx="2651242" cy="2545424"/>
          </a:xfrm>
          <a:prstGeom prst="rect">
            <a:avLst/>
          </a:prstGeom>
          <a:ln>
            <a:noFill/>
          </a:ln>
        </p:spPr>
      </p:pic>
      <p:pic>
        <p:nvPicPr>
          <p:cNvPr id="8" name="Picture 7">
            <a:extLst>
              <a:ext uri="{FF2B5EF4-FFF2-40B4-BE49-F238E27FC236}">
                <a16:creationId xmlns:a16="http://schemas.microsoft.com/office/drawing/2014/main" id="{9176B993-E0DF-BCEC-7681-D3FA7EF43D0F}"/>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9028460" y="1336426"/>
            <a:ext cx="2651242" cy="2182580"/>
          </a:xfrm>
          <a:prstGeom prst="rect">
            <a:avLst/>
          </a:prstGeom>
          <a:ln>
            <a:noFill/>
          </a:ln>
        </p:spPr>
      </p:pic>
      <p:pic>
        <p:nvPicPr>
          <p:cNvPr id="9" name="Picture 4" descr="Nj County Map With Cities - City Subway Map">
            <a:extLst>
              <a:ext uri="{FF2B5EF4-FFF2-40B4-BE49-F238E27FC236}">
                <a16:creationId xmlns:a16="http://schemas.microsoft.com/office/drawing/2014/main" id="{77E27ACE-895E-2DE8-A80E-17DED06FD84A}"/>
              </a:ext>
            </a:extLst>
          </p:cNvPr>
          <p:cNvPicPr>
            <a:picLocks noChangeAspect="1" noChangeArrowheads="1"/>
          </p:cNvPicPr>
          <p:nvPr/>
        </p:nvPicPr>
        <p:blipFill rotWithShape="1">
          <a:blip r:embed="rId6" cstate="print">
            <a:extLst>
              <a:ext uri="{28A0092B-C50C-407E-A947-70E740481C1C}">
                <a14:useLocalDpi xmlns:a14="http://schemas.microsoft.com/office/drawing/2010/main"/>
              </a:ext>
            </a:extLst>
          </a:blip>
          <a:srcRect/>
          <a:stretch/>
        </p:blipFill>
        <p:spPr bwMode="auto">
          <a:xfrm>
            <a:off x="400722" y="1320032"/>
            <a:ext cx="3474720" cy="4789971"/>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491287F2-0E75-5989-431B-4F4FFF7D10E7}"/>
              </a:ext>
            </a:extLst>
          </p:cNvPr>
          <p:cNvSpPr txBox="1"/>
          <p:nvPr/>
        </p:nvSpPr>
        <p:spPr>
          <a:xfrm>
            <a:off x="400721" y="6130541"/>
            <a:ext cx="5988503" cy="230832"/>
          </a:xfrm>
          <a:prstGeom prst="rect">
            <a:avLst/>
          </a:prstGeom>
          <a:noFill/>
        </p:spPr>
        <p:txBody>
          <a:bodyPr wrap="square">
            <a:spAutoFit/>
          </a:bodyPr>
          <a:lstStyle/>
          <a:p>
            <a:r>
              <a:rPr lang="en-US" sz="900" dirty="0">
                <a:solidFill>
                  <a:schemeClr val="bg1">
                    <a:lumMod val="75000"/>
                  </a:schemeClr>
                </a:solidFill>
              </a:rPr>
              <a:t>https://www.worldatlas.com/r/w1200/upload/c0/78/96/new-jersey-counties-map.png</a:t>
            </a:r>
          </a:p>
        </p:txBody>
      </p:sp>
      <p:sp>
        <p:nvSpPr>
          <p:cNvPr id="11" name="Star: 5 Points 2">
            <a:extLst>
              <a:ext uri="{FF2B5EF4-FFF2-40B4-BE49-F238E27FC236}">
                <a16:creationId xmlns:a16="http://schemas.microsoft.com/office/drawing/2014/main" id="{13C2239A-469A-62DC-73B2-3434A57731D1}"/>
              </a:ext>
            </a:extLst>
          </p:cNvPr>
          <p:cNvSpPr/>
          <p:nvPr/>
        </p:nvSpPr>
        <p:spPr>
          <a:xfrm>
            <a:off x="2823494" y="2238211"/>
            <a:ext cx="325120" cy="264160"/>
          </a:xfrm>
          <a:prstGeom prst="star5">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7429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DF23D35-3F10-0561-9AC8-29E814C8A422}"/>
              </a:ext>
            </a:extLst>
          </p:cNvPr>
          <p:cNvSpPr>
            <a:spLocks noGrp="1"/>
          </p:cNvSpPr>
          <p:nvPr>
            <p:ph type="body" sz="quarter" idx="10"/>
          </p:nvPr>
        </p:nvSpPr>
        <p:spPr/>
        <p:txBody>
          <a:bodyPr/>
          <a:lstStyle/>
          <a:p>
            <a:r>
              <a:rPr lang="en-US" sz="2000" dirty="0"/>
              <a:t>Clara</a:t>
            </a:r>
          </a:p>
        </p:txBody>
      </p:sp>
      <p:sp>
        <p:nvSpPr>
          <p:cNvPr id="5" name="Title 4">
            <a:extLst>
              <a:ext uri="{FF2B5EF4-FFF2-40B4-BE49-F238E27FC236}">
                <a16:creationId xmlns:a16="http://schemas.microsoft.com/office/drawing/2014/main" id="{7BFA40CD-1939-29AB-3102-8F80CA8CF94B}"/>
              </a:ext>
            </a:extLst>
          </p:cNvPr>
          <p:cNvSpPr>
            <a:spLocks noGrp="1"/>
          </p:cNvSpPr>
          <p:nvPr>
            <p:ph type="title"/>
          </p:nvPr>
        </p:nvSpPr>
        <p:spPr/>
        <p:txBody>
          <a:bodyPr/>
          <a:lstStyle/>
          <a:p>
            <a:r>
              <a:rPr lang="en-US" sz="4000" dirty="0"/>
              <a:t>Social Vignette</a:t>
            </a:r>
          </a:p>
        </p:txBody>
      </p:sp>
      <p:sp>
        <p:nvSpPr>
          <p:cNvPr id="4" name="Text Placeholder 3">
            <a:extLst>
              <a:ext uri="{FF2B5EF4-FFF2-40B4-BE49-F238E27FC236}">
                <a16:creationId xmlns:a16="http://schemas.microsoft.com/office/drawing/2014/main" id="{BD3C6065-B917-457E-294B-0B700D502275}"/>
              </a:ext>
            </a:extLst>
          </p:cNvPr>
          <p:cNvSpPr>
            <a:spLocks noGrp="1"/>
          </p:cNvSpPr>
          <p:nvPr>
            <p:ph type="body" sz="quarter" idx="11"/>
          </p:nvPr>
        </p:nvSpPr>
        <p:spPr>
          <a:xfrm>
            <a:off x="1005841" y="1828800"/>
            <a:ext cx="5461220" cy="4286797"/>
          </a:xfrm>
        </p:spPr>
        <p:txBody>
          <a:bodyPr>
            <a:normAutofit/>
          </a:bodyPr>
          <a:lstStyle/>
          <a:p>
            <a:pPr marL="285750" indent="-285750">
              <a:buFont typeface="Arial" panose="020B0604020202020204" pitchFamily="34" charset="0"/>
              <a:buChar char="•"/>
            </a:pPr>
            <a:r>
              <a:rPr lang="en-US" sz="1800" dirty="0"/>
              <a:t>75-year-old retired factory worker, widowed female with hypertension, hyperlipidemia and rheumatoid arthritis takes </a:t>
            </a:r>
          </a:p>
          <a:p>
            <a:pPr marL="772211" lvl="1" indent="-285750">
              <a:buFont typeface="Arial" panose="020B0604020202020204" pitchFamily="34" charset="0"/>
              <a:buChar char="•"/>
            </a:pPr>
            <a:r>
              <a:rPr lang="en-US" sz="1600" dirty="0">
                <a:solidFill>
                  <a:schemeClr val="bg2"/>
                </a:solidFill>
              </a:rPr>
              <a:t>Olmesartan HCT 20/12/5 = </a:t>
            </a:r>
            <a:r>
              <a:rPr lang="en-US" sz="1600" dirty="0">
                <a:solidFill>
                  <a:schemeClr val="tx2"/>
                </a:solidFill>
              </a:rPr>
              <a:t>$256/30 days</a:t>
            </a:r>
          </a:p>
          <a:p>
            <a:pPr marL="772211" lvl="1" indent="-285750">
              <a:buFont typeface="Arial" panose="020B0604020202020204" pitchFamily="34" charset="0"/>
              <a:buChar char="•"/>
            </a:pPr>
            <a:r>
              <a:rPr lang="en-US" sz="1600" dirty="0">
                <a:solidFill>
                  <a:schemeClr val="bg2"/>
                </a:solidFill>
              </a:rPr>
              <a:t>Atorvastatin 40 mg = </a:t>
            </a:r>
            <a:r>
              <a:rPr lang="en-US" sz="1600" dirty="0">
                <a:solidFill>
                  <a:schemeClr val="tx2"/>
                </a:solidFill>
              </a:rPr>
              <a:t>$6/30 days</a:t>
            </a:r>
          </a:p>
          <a:p>
            <a:pPr marL="772211" lvl="1" indent="-285750">
              <a:buFont typeface="Arial" panose="020B0604020202020204" pitchFamily="34" charset="0"/>
              <a:buChar char="•"/>
            </a:pPr>
            <a:r>
              <a:rPr lang="en-US" sz="1600" dirty="0">
                <a:solidFill>
                  <a:schemeClr val="bg2"/>
                </a:solidFill>
              </a:rPr>
              <a:t>Adalimumab 40mg/0.4ml = </a:t>
            </a:r>
            <a:r>
              <a:rPr lang="en-US" sz="1600" dirty="0">
                <a:solidFill>
                  <a:schemeClr val="tx2"/>
                </a:solidFill>
              </a:rPr>
              <a:t>$6097.00/30 days</a:t>
            </a:r>
          </a:p>
          <a:p>
            <a:pPr marL="772211" lvl="1" indent="-285750">
              <a:buFont typeface="Arial" panose="020B0604020202020204" pitchFamily="34" charset="0"/>
              <a:buChar char="•"/>
            </a:pPr>
            <a:r>
              <a:rPr lang="en-US" sz="1600" dirty="0">
                <a:solidFill>
                  <a:schemeClr val="bg2"/>
                </a:solidFill>
              </a:rPr>
              <a:t>Total monthly cost of meds - </a:t>
            </a:r>
            <a:r>
              <a:rPr lang="en-US" sz="1600" dirty="0">
                <a:solidFill>
                  <a:schemeClr val="tx2"/>
                </a:solidFill>
              </a:rPr>
              <a:t>$6359/30 days</a:t>
            </a:r>
          </a:p>
          <a:p>
            <a:pPr marL="285750" indent="-285750">
              <a:buFont typeface="Arial" panose="020B0604020202020204" pitchFamily="34" charset="0"/>
              <a:buChar char="•"/>
            </a:pPr>
            <a:r>
              <a:rPr lang="en-US" sz="1800" dirty="0"/>
              <a:t>Children live out of state</a:t>
            </a:r>
          </a:p>
          <a:p>
            <a:pPr marL="285750" indent="-285750">
              <a:buFont typeface="Arial" panose="020B0604020202020204" pitchFamily="34" charset="0"/>
              <a:buChar char="•"/>
            </a:pPr>
            <a:r>
              <a:rPr lang="en-US" sz="1800" dirty="0"/>
              <a:t>Medicare Part B covers </a:t>
            </a:r>
            <a:r>
              <a:rPr lang="en-US" sz="1800" dirty="0">
                <a:solidFill>
                  <a:schemeClr val="tx2"/>
                </a:solidFill>
              </a:rPr>
              <a:t>80%</a:t>
            </a:r>
            <a:r>
              <a:rPr lang="en-US" sz="1800" dirty="0"/>
              <a:t> of the medications – out of pocket </a:t>
            </a:r>
            <a:r>
              <a:rPr lang="en-US" sz="1800" dirty="0">
                <a:solidFill>
                  <a:schemeClr val="tx2"/>
                </a:solidFill>
              </a:rPr>
              <a:t>$1271.80/month </a:t>
            </a:r>
            <a:r>
              <a:rPr lang="en-US" sz="1800" dirty="0"/>
              <a:t>(simplified to exclude donut hole and part B coverage)</a:t>
            </a:r>
          </a:p>
          <a:p>
            <a:pPr marL="772211" lvl="1" indent="-285750">
              <a:buFont typeface="Arial" panose="020B0604020202020204" pitchFamily="34" charset="0"/>
              <a:buChar char="•"/>
            </a:pPr>
            <a:r>
              <a:rPr lang="en-US" sz="1600" dirty="0">
                <a:solidFill>
                  <a:schemeClr val="bg2"/>
                </a:solidFill>
              </a:rPr>
              <a:t>She has no supplemental coverage</a:t>
            </a:r>
          </a:p>
          <a:p>
            <a:pPr marL="285750" indent="-285750">
              <a:buFont typeface="Arial" panose="020B0604020202020204" pitchFamily="34" charset="0"/>
              <a:buChar char="•"/>
            </a:pPr>
            <a:r>
              <a:rPr lang="en-US" sz="1800" dirty="0"/>
              <a:t>She pays </a:t>
            </a:r>
            <a:r>
              <a:rPr lang="en-US" sz="1800" dirty="0">
                <a:solidFill>
                  <a:schemeClr val="tx2"/>
                </a:solidFill>
              </a:rPr>
              <a:t>$1000 </a:t>
            </a:r>
            <a:r>
              <a:rPr lang="en-US" sz="1800" dirty="0"/>
              <a:t>in mortgage/taxes and </a:t>
            </a:r>
            <a:r>
              <a:rPr lang="en-US" sz="1800" dirty="0">
                <a:solidFill>
                  <a:schemeClr val="tx2"/>
                </a:solidFill>
              </a:rPr>
              <a:t>$200/month </a:t>
            </a:r>
            <a:r>
              <a:rPr lang="en-US" sz="1800" dirty="0"/>
              <a:t>in food bills</a:t>
            </a:r>
          </a:p>
          <a:p>
            <a:pPr marL="285750" indent="-285750">
              <a:buFont typeface="Arial" panose="020B0604020202020204" pitchFamily="34" charset="0"/>
              <a:buChar char="•"/>
            </a:pPr>
            <a:r>
              <a:rPr lang="en-US" sz="1800" dirty="0"/>
              <a:t>Total monthly spend is </a:t>
            </a:r>
            <a:r>
              <a:rPr lang="en-US" sz="1800" dirty="0">
                <a:solidFill>
                  <a:schemeClr val="tx2"/>
                </a:solidFill>
              </a:rPr>
              <a:t>$2071.80</a:t>
            </a:r>
            <a:r>
              <a:rPr lang="en-US" sz="1800" dirty="0"/>
              <a:t> excluding incidentals </a:t>
            </a:r>
          </a:p>
          <a:p>
            <a:endParaRPr lang="en-US" dirty="0"/>
          </a:p>
        </p:txBody>
      </p:sp>
      <p:pic>
        <p:nvPicPr>
          <p:cNvPr id="246" name="Google Shape;246;p9" descr="Old lady with arms wide open"/>
          <p:cNvPicPr preferRelativeResize="0">
            <a:picLocks/>
          </p:cNvPicPr>
          <p:nvPr/>
        </p:nvPicPr>
        <p:blipFill rotWithShape="1">
          <a:blip r:embed="rId2" cstate="print">
            <a:alphaModFix/>
            <a:extLst>
              <a:ext uri="{28A0092B-C50C-407E-A947-70E740481C1C}">
                <a14:useLocalDpi xmlns:a14="http://schemas.microsoft.com/office/drawing/2010/main"/>
              </a:ext>
            </a:extLst>
          </a:blip>
          <a:srcRect b="-1"/>
          <a:stretch/>
        </p:blipFill>
        <p:spPr>
          <a:xfrm>
            <a:off x="7198467" y="1361871"/>
            <a:ext cx="4247269" cy="5003607"/>
          </a:xfrm>
          <a:prstGeom prst="roundRect">
            <a:avLst>
              <a:gd name="adj" fmla="val 4943"/>
            </a:avLst>
          </a:prstGeom>
          <a:noFill/>
          <a:ln w="82550" cap="sq" cmpd="sng">
            <a:solidFill>
              <a:srgbClr val="EAEAEA"/>
            </a:solidFill>
            <a:prstDash val="solid"/>
            <a:miter lim="800000"/>
            <a:headEnd type="none" w="sm" len="sm"/>
            <a:tailEnd type="none" w="sm" len="sm"/>
          </a:ln>
        </p:spPr>
      </p:pic>
    </p:spTree>
    <p:extLst>
      <p:ext uri="{BB962C8B-B14F-4D97-AF65-F5344CB8AC3E}">
        <p14:creationId xmlns:p14="http://schemas.microsoft.com/office/powerpoint/2010/main" val="3378039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228F6C4-4B31-7097-8C48-CE49366973B1}"/>
              </a:ext>
            </a:extLst>
          </p:cNvPr>
          <p:cNvSpPr>
            <a:spLocks noGrp="1"/>
          </p:cNvSpPr>
          <p:nvPr>
            <p:ph type="body" sz="quarter" idx="10"/>
          </p:nvPr>
        </p:nvSpPr>
        <p:spPr/>
        <p:txBody>
          <a:bodyPr lIns="91440" tIns="45720" rIns="91440" bIns="45720" anchor="t">
            <a:normAutofit/>
          </a:bodyPr>
          <a:lstStyle/>
          <a:p>
            <a:r>
              <a:rPr lang="en-US" sz="2000" dirty="0">
                <a:cs typeface="Kanit Thin"/>
              </a:rPr>
              <a:t>Does Data Equity Compromise SDOH Capture?</a:t>
            </a:r>
            <a:endParaRPr lang="en-US" sz="2000" dirty="0"/>
          </a:p>
          <a:p>
            <a:endParaRPr lang="en-US" dirty="0"/>
          </a:p>
        </p:txBody>
      </p:sp>
      <p:sp>
        <p:nvSpPr>
          <p:cNvPr id="4" name="Title 3">
            <a:extLst>
              <a:ext uri="{FF2B5EF4-FFF2-40B4-BE49-F238E27FC236}">
                <a16:creationId xmlns:a16="http://schemas.microsoft.com/office/drawing/2014/main" id="{F194892E-7E6B-A4C1-0FB3-1039464B5642}"/>
              </a:ext>
            </a:extLst>
          </p:cNvPr>
          <p:cNvSpPr>
            <a:spLocks noGrp="1"/>
          </p:cNvSpPr>
          <p:nvPr>
            <p:ph type="title"/>
          </p:nvPr>
        </p:nvSpPr>
        <p:spPr/>
        <p:txBody>
          <a:bodyPr/>
          <a:lstStyle/>
          <a:p>
            <a:r>
              <a:rPr lang="en-US" sz="4000" dirty="0">
                <a:cs typeface="Kanit Thin"/>
              </a:rPr>
              <a:t>Social Drivers of Health</a:t>
            </a:r>
            <a:endParaRPr lang="en-US" sz="4000" dirty="0"/>
          </a:p>
        </p:txBody>
      </p:sp>
      <p:pic>
        <p:nvPicPr>
          <p:cNvPr id="8" name="Picture 7">
            <a:extLst>
              <a:ext uri="{FF2B5EF4-FFF2-40B4-BE49-F238E27FC236}">
                <a16:creationId xmlns:a16="http://schemas.microsoft.com/office/drawing/2014/main" id="{01C9BB33-72FD-FC05-71DA-309117C3ACF6}"/>
              </a:ext>
            </a:extLst>
          </p:cNvPr>
          <p:cNvPicPr>
            <a:picLocks noChangeAspect="1"/>
          </p:cNvPicPr>
          <p:nvPr/>
        </p:nvPicPr>
        <p:blipFill>
          <a:blip r:embed="rId3"/>
          <a:stretch>
            <a:fillRect/>
          </a:stretch>
        </p:blipFill>
        <p:spPr>
          <a:xfrm>
            <a:off x="166094" y="2124479"/>
            <a:ext cx="8949032" cy="3077409"/>
          </a:xfrm>
          <a:prstGeom prst="rect">
            <a:avLst/>
          </a:prstGeom>
        </p:spPr>
      </p:pic>
      <p:sp>
        <p:nvSpPr>
          <p:cNvPr id="3" name="Text Placeholder 3">
            <a:extLst>
              <a:ext uri="{FF2B5EF4-FFF2-40B4-BE49-F238E27FC236}">
                <a16:creationId xmlns:a16="http://schemas.microsoft.com/office/drawing/2014/main" id="{6EE46F50-52E2-76CF-289C-E00FD4D7ED85}"/>
              </a:ext>
            </a:extLst>
          </p:cNvPr>
          <p:cNvSpPr txBox="1">
            <a:spLocks/>
          </p:cNvSpPr>
          <p:nvPr/>
        </p:nvSpPr>
        <p:spPr>
          <a:xfrm>
            <a:off x="9377956" y="1510241"/>
            <a:ext cx="2647950" cy="3657600"/>
          </a:xfrm>
          <a:prstGeom prst="rect">
            <a:avLst/>
          </a:prstGeom>
        </p:spPr>
        <p:txBody>
          <a:bodyPr wrap="square" lIns="0" tIns="0" rIns="0" bIns="0">
            <a:noAutofit/>
          </a:bodyPr>
          <a:lstStyle>
            <a:lvl1pPr marL="0">
              <a:defRPr>
                <a:solidFill>
                  <a:schemeClr val="bg2"/>
                </a:solidFill>
                <a:latin typeface="+mj-lt"/>
                <a:ea typeface="+mn-ea"/>
                <a:cs typeface="+mn-cs"/>
              </a:defRPr>
            </a:lvl1pPr>
            <a:lvl2pPr marL="486461">
              <a:defRPr>
                <a:latin typeface="+mn-lt"/>
                <a:ea typeface="+mn-ea"/>
                <a:cs typeface="+mn-cs"/>
              </a:defRPr>
            </a:lvl2pPr>
            <a:lvl3pPr marL="972922">
              <a:defRPr>
                <a:latin typeface="+mn-lt"/>
                <a:ea typeface="+mn-ea"/>
                <a:cs typeface="+mn-cs"/>
              </a:defRPr>
            </a:lvl3pPr>
            <a:lvl4pPr marL="1459382">
              <a:defRPr>
                <a:latin typeface="+mn-lt"/>
                <a:ea typeface="+mn-ea"/>
                <a:cs typeface="+mn-cs"/>
              </a:defRPr>
            </a:lvl4pPr>
            <a:lvl5pPr marL="1945843">
              <a:defRPr>
                <a:latin typeface="+mn-lt"/>
                <a:ea typeface="+mn-ea"/>
                <a:cs typeface="+mn-cs"/>
              </a:defRPr>
            </a:lvl5pPr>
            <a:lvl6pPr marL="2432304">
              <a:defRPr>
                <a:latin typeface="+mn-lt"/>
                <a:ea typeface="+mn-ea"/>
                <a:cs typeface="+mn-cs"/>
              </a:defRPr>
            </a:lvl6pPr>
            <a:lvl7pPr marL="2918765">
              <a:defRPr>
                <a:latin typeface="+mn-lt"/>
                <a:ea typeface="+mn-ea"/>
                <a:cs typeface="+mn-cs"/>
              </a:defRPr>
            </a:lvl7pPr>
            <a:lvl8pPr marL="3405226">
              <a:defRPr>
                <a:latin typeface="+mn-lt"/>
                <a:ea typeface="+mn-ea"/>
                <a:cs typeface="+mn-cs"/>
              </a:defRPr>
            </a:lvl8pPr>
            <a:lvl9pPr marL="3891686">
              <a:defRPr>
                <a:latin typeface="+mn-lt"/>
                <a:ea typeface="+mn-ea"/>
                <a:cs typeface="+mn-cs"/>
              </a:defRPr>
            </a:lvl9pPr>
          </a:lstStyle>
          <a:p>
            <a:pPr marL="342900" indent="-342900">
              <a:buFont typeface="Arial" panose="020B0604020202020204" pitchFamily="34" charset="0"/>
              <a:buChar char="•"/>
            </a:pPr>
            <a:r>
              <a:rPr lang="en-US" kern="0"/>
              <a:t>Income and social protection</a:t>
            </a:r>
          </a:p>
          <a:p>
            <a:pPr marL="342900" indent="-342900">
              <a:buFont typeface="Arial" panose="020B0604020202020204" pitchFamily="34" charset="0"/>
              <a:buChar char="•"/>
            </a:pPr>
            <a:r>
              <a:rPr lang="en-US" kern="0"/>
              <a:t>Education</a:t>
            </a:r>
          </a:p>
          <a:p>
            <a:pPr marL="342900" indent="-342900">
              <a:buFont typeface="Arial" panose="020B0604020202020204" pitchFamily="34" charset="0"/>
              <a:buChar char="•"/>
            </a:pPr>
            <a:r>
              <a:rPr lang="en-US" kern="0"/>
              <a:t>Unemployment and job insecurity</a:t>
            </a:r>
          </a:p>
          <a:p>
            <a:pPr marL="342900" indent="-342900">
              <a:buFont typeface="Arial" panose="020B0604020202020204" pitchFamily="34" charset="0"/>
              <a:buChar char="•"/>
            </a:pPr>
            <a:r>
              <a:rPr lang="en-US" kern="0">
                <a:cs typeface="Kanit Light"/>
              </a:rPr>
              <a:t>Working life conditions</a:t>
            </a:r>
          </a:p>
          <a:p>
            <a:pPr marL="342900" indent="-342900">
              <a:buFont typeface="Arial" panose="020B0604020202020204" pitchFamily="34" charset="0"/>
              <a:buChar char="•"/>
            </a:pPr>
            <a:r>
              <a:rPr lang="en-US" kern="0">
                <a:cs typeface="Kanit Light"/>
              </a:rPr>
              <a:t>Food insecurity</a:t>
            </a:r>
          </a:p>
          <a:p>
            <a:pPr marL="342900" indent="-342900">
              <a:buFont typeface="Arial" panose="020B0604020202020204" pitchFamily="34" charset="0"/>
              <a:buChar char="•"/>
            </a:pPr>
            <a:r>
              <a:rPr lang="en-US" kern="0"/>
              <a:t>Housing, basic amenities and the environment</a:t>
            </a:r>
          </a:p>
          <a:p>
            <a:pPr marL="342900" indent="-342900">
              <a:buFont typeface="Arial" panose="020B0604020202020204" pitchFamily="34" charset="0"/>
              <a:buChar char="•"/>
            </a:pPr>
            <a:r>
              <a:rPr lang="en-US" kern="0"/>
              <a:t>Early childhood development</a:t>
            </a:r>
          </a:p>
          <a:p>
            <a:pPr marL="342900" indent="-342900">
              <a:buFont typeface="Arial" panose="020B0604020202020204" pitchFamily="34" charset="0"/>
              <a:buChar char="•"/>
            </a:pPr>
            <a:r>
              <a:rPr lang="en-US" kern="0"/>
              <a:t>Social inclusion and non-discrimination</a:t>
            </a:r>
          </a:p>
          <a:p>
            <a:pPr marL="342900" indent="-342900">
              <a:buFont typeface="Arial" panose="020B0604020202020204" pitchFamily="34" charset="0"/>
              <a:buChar char="•"/>
            </a:pPr>
            <a:r>
              <a:rPr lang="en-US" kern="0"/>
              <a:t>Structural conflict</a:t>
            </a:r>
          </a:p>
          <a:p>
            <a:pPr marL="342900" indent="-342900">
              <a:buFont typeface="Arial" panose="020B0604020202020204" pitchFamily="34" charset="0"/>
              <a:buChar char="•"/>
            </a:pPr>
            <a:r>
              <a:rPr lang="en-US" kern="0"/>
              <a:t>Access to affordable health services of decent quality</a:t>
            </a:r>
            <a:endParaRPr lang="en-US" kern="0" dirty="0"/>
          </a:p>
        </p:txBody>
      </p:sp>
    </p:spTree>
    <p:extLst>
      <p:ext uri="{BB962C8B-B14F-4D97-AF65-F5344CB8AC3E}">
        <p14:creationId xmlns:p14="http://schemas.microsoft.com/office/powerpoint/2010/main" val="21625186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anim calcmode="lin" valueType="num">
                                      <p:cBhvr additive="base">
                                        <p:cTn id="11" dur="500" fill="hold"/>
                                        <p:tgtEl>
                                          <p:spTgt spid="3">
                                            <p:txEl>
                                              <p:pRg st="1" end="1"/>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3">
                                            <p:txEl>
                                              <p:pRg st="1" end="1"/>
                                            </p:txEl>
                                          </p:spTgt>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anim calcmode="lin" valueType="num">
                                      <p:cBhvr additive="base">
                                        <p:cTn id="15"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additive="base">
                                        <p:cTn id="16" dur="500" fill="hold"/>
                                        <p:tgtEl>
                                          <p:spTgt spid="3">
                                            <p:txEl>
                                              <p:pRg st="2" end="2"/>
                                            </p:txEl>
                                          </p:spTgt>
                                        </p:tgtEl>
                                        <p:attrNameLst>
                                          <p:attrName>ppt_y</p:attrName>
                                        </p:attrNameLst>
                                      </p:cBhvr>
                                      <p:tavLst>
                                        <p:tav tm="0">
                                          <p:val>
                                            <p:strVal val="1+#ppt_h/2"/>
                                          </p:val>
                                        </p:tav>
                                        <p:tav tm="100000">
                                          <p:val>
                                            <p:strVal val="#ppt_y"/>
                                          </p:val>
                                        </p:tav>
                                      </p:tavLst>
                                    </p:anim>
                                  </p:childTnLst>
                                </p:cTn>
                              </p:par>
                              <p:par>
                                <p:cTn id="17" presetID="2" presetClass="entr" presetSubtype="4" fill="hold" nodeType="with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anim calcmode="lin" valueType="num">
                                      <p:cBhvr additive="base">
                                        <p:cTn id="19" dur="500" fill="hold"/>
                                        <p:tgtEl>
                                          <p:spTgt spid="3">
                                            <p:txEl>
                                              <p:pRg st="3" end="3"/>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3">
                                            <p:txEl>
                                              <p:pRg st="3" end="3"/>
                                            </p:txEl>
                                          </p:spTgt>
                                        </p:tgtEl>
                                        <p:attrNameLst>
                                          <p:attrName>ppt_y</p:attrName>
                                        </p:attrNameLst>
                                      </p:cBhvr>
                                      <p:tavLst>
                                        <p:tav tm="0">
                                          <p:val>
                                            <p:strVal val="1+#ppt_h/2"/>
                                          </p:val>
                                        </p:tav>
                                        <p:tav tm="100000">
                                          <p:val>
                                            <p:strVal val="#ppt_y"/>
                                          </p:val>
                                        </p:tav>
                                      </p:tavLst>
                                    </p:anim>
                                  </p:childTnLst>
                                </p:cTn>
                              </p:par>
                              <p:par>
                                <p:cTn id="21" presetID="2" presetClass="entr" presetSubtype="4" fill="hold" nodeType="with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anim calcmode="lin" valueType="num">
                                      <p:cBhvr additive="base">
                                        <p:cTn id="23" dur="500" fill="hold"/>
                                        <p:tgtEl>
                                          <p:spTgt spid="3">
                                            <p:txEl>
                                              <p:pRg st="4" end="4"/>
                                            </p:txEl>
                                          </p:spTgt>
                                        </p:tgtEl>
                                        <p:attrNameLst>
                                          <p:attrName>ppt_x</p:attrName>
                                        </p:attrNameLst>
                                      </p:cBhvr>
                                      <p:tavLst>
                                        <p:tav tm="0">
                                          <p:val>
                                            <p:strVal val="#ppt_x"/>
                                          </p:val>
                                        </p:tav>
                                        <p:tav tm="100000">
                                          <p:val>
                                            <p:strVal val="#ppt_x"/>
                                          </p:val>
                                        </p:tav>
                                      </p:tavLst>
                                    </p:anim>
                                    <p:anim calcmode="lin" valueType="num">
                                      <p:cBhvr additive="base">
                                        <p:cTn id="24" dur="500" fill="hold"/>
                                        <p:tgtEl>
                                          <p:spTgt spid="3">
                                            <p:txEl>
                                              <p:pRg st="4" end="4"/>
                                            </p:txEl>
                                          </p:spTgt>
                                        </p:tgtEl>
                                        <p:attrNameLst>
                                          <p:attrName>ppt_y</p:attrName>
                                        </p:attrNameLst>
                                      </p:cBhvr>
                                      <p:tavLst>
                                        <p:tav tm="0">
                                          <p:val>
                                            <p:strVal val="1+#ppt_h/2"/>
                                          </p:val>
                                        </p:tav>
                                        <p:tav tm="100000">
                                          <p:val>
                                            <p:strVal val="#ppt_y"/>
                                          </p:val>
                                        </p:tav>
                                      </p:tavLst>
                                    </p:anim>
                                  </p:childTnLst>
                                </p:cTn>
                              </p:par>
                              <p:par>
                                <p:cTn id="25" presetID="2" presetClass="entr" presetSubtype="4" fill="hold" nodeType="with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anim calcmode="lin" valueType="num">
                                      <p:cBhvr additive="base">
                                        <p:cTn id="27" dur="500" fill="hold"/>
                                        <p:tgtEl>
                                          <p:spTgt spid="3">
                                            <p:txEl>
                                              <p:pRg st="5" end="5"/>
                                            </p:txEl>
                                          </p:spTgt>
                                        </p:tgtEl>
                                        <p:attrNameLst>
                                          <p:attrName>ppt_x</p:attrName>
                                        </p:attrNameLst>
                                      </p:cBhvr>
                                      <p:tavLst>
                                        <p:tav tm="0">
                                          <p:val>
                                            <p:strVal val="#ppt_x"/>
                                          </p:val>
                                        </p:tav>
                                        <p:tav tm="100000">
                                          <p:val>
                                            <p:strVal val="#ppt_x"/>
                                          </p:val>
                                        </p:tav>
                                      </p:tavLst>
                                    </p:anim>
                                    <p:anim calcmode="lin" valueType="num">
                                      <p:cBhvr additive="base">
                                        <p:cTn id="28" dur="500" fill="hold"/>
                                        <p:tgtEl>
                                          <p:spTgt spid="3">
                                            <p:txEl>
                                              <p:pRg st="5" end="5"/>
                                            </p:txEl>
                                          </p:spTgt>
                                        </p:tgtEl>
                                        <p:attrNameLst>
                                          <p:attrName>ppt_y</p:attrName>
                                        </p:attrNameLst>
                                      </p:cBhvr>
                                      <p:tavLst>
                                        <p:tav tm="0">
                                          <p:val>
                                            <p:strVal val="1+#ppt_h/2"/>
                                          </p:val>
                                        </p:tav>
                                        <p:tav tm="100000">
                                          <p:val>
                                            <p:strVal val="#ppt_y"/>
                                          </p:val>
                                        </p:tav>
                                      </p:tavLst>
                                    </p:anim>
                                  </p:childTnLst>
                                </p:cTn>
                              </p:par>
                              <p:par>
                                <p:cTn id="29" presetID="2" presetClass="entr" presetSubtype="4" fill="hold" nodeType="with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anim calcmode="lin" valueType="num">
                                      <p:cBhvr additive="base">
                                        <p:cTn id="31" dur="500" fill="hold"/>
                                        <p:tgtEl>
                                          <p:spTgt spid="3">
                                            <p:txEl>
                                              <p:pRg st="6" end="6"/>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3">
                                            <p:txEl>
                                              <p:pRg st="6" end="6"/>
                                            </p:txEl>
                                          </p:spTgt>
                                        </p:tgtEl>
                                        <p:attrNameLst>
                                          <p:attrName>ppt_y</p:attrName>
                                        </p:attrNameLst>
                                      </p:cBhvr>
                                      <p:tavLst>
                                        <p:tav tm="0">
                                          <p:val>
                                            <p:strVal val="1+#ppt_h/2"/>
                                          </p:val>
                                        </p:tav>
                                        <p:tav tm="100000">
                                          <p:val>
                                            <p:strVal val="#ppt_y"/>
                                          </p:val>
                                        </p:tav>
                                      </p:tavLst>
                                    </p:anim>
                                  </p:childTnLst>
                                </p:cTn>
                              </p:par>
                              <p:par>
                                <p:cTn id="33" presetID="2" presetClass="entr" presetSubtype="4" fill="hold" nodeType="withEffect">
                                  <p:stCondLst>
                                    <p:cond delay="0"/>
                                  </p:stCondLst>
                                  <p:childTnLst>
                                    <p:set>
                                      <p:cBhvr>
                                        <p:cTn id="34" dur="1" fill="hold">
                                          <p:stCondLst>
                                            <p:cond delay="0"/>
                                          </p:stCondLst>
                                        </p:cTn>
                                        <p:tgtEl>
                                          <p:spTgt spid="3">
                                            <p:txEl>
                                              <p:pRg st="7" end="7"/>
                                            </p:txEl>
                                          </p:spTgt>
                                        </p:tgtEl>
                                        <p:attrNameLst>
                                          <p:attrName>style.visibility</p:attrName>
                                        </p:attrNameLst>
                                      </p:cBhvr>
                                      <p:to>
                                        <p:strVal val="visible"/>
                                      </p:to>
                                    </p:set>
                                    <p:anim calcmode="lin" valueType="num">
                                      <p:cBhvr additive="base">
                                        <p:cTn id="35" dur="500" fill="hold"/>
                                        <p:tgtEl>
                                          <p:spTgt spid="3">
                                            <p:txEl>
                                              <p:pRg st="7" end="7"/>
                                            </p:txEl>
                                          </p:spTgt>
                                        </p:tgtEl>
                                        <p:attrNameLst>
                                          <p:attrName>ppt_x</p:attrName>
                                        </p:attrNameLst>
                                      </p:cBhvr>
                                      <p:tavLst>
                                        <p:tav tm="0">
                                          <p:val>
                                            <p:strVal val="#ppt_x"/>
                                          </p:val>
                                        </p:tav>
                                        <p:tav tm="100000">
                                          <p:val>
                                            <p:strVal val="#ppt_x"/>
                                          </p:val>
                                        </p:tav>
                                      </p:tavLst>
                                    </p:anim>
                                    <p:anim calcmode="lin" valueType="num">
                                      <p:cBhvr additive="base">
                                        <p:cTn id="36" dur="500" fill="hold"/>
                                        <p:tgtEl>
                                          <p:spTgt spid="3">
                                            <p:txEl>
                                              <p:pRg st="7" end="7"/>
                                            </p:txEl>
                                          </p:spTgt>
                                        </p:tgtEl>
                                        <p:attrNameLst>
                                          <p:attrName>ppt_y</p:attrName>
                                        </p:attrNameLst>
                                      </p:cBhvr>
                                      <p:tavLst>
                                        <p:tav tm="0">
                                          <p:val>
                                            <p:strVal val="1+#ppt_h/2"/>
                                          </p:val>
                                        </p:tav>
                                        <p:tav tm="100000">
                                          <p:val>
                                            <p:strVal val="#ppt_y"/>
                                          </p:val>
                                        </p:tav>
                                      </p:tavLst>
                                    </p:anim>
                                  </p:childTnLst>
                                </p:cTn>
                              </p:par>
                              <p:par>
                                <p:cTn id="37" presetID="2" presetClass="entr" presetSubtype="4" fill="hold" nodeType="withEffect">
                                  <p:stCondLst>
                                    <p:cond delay="0"/>
                                  </p:stCondLst>
                                  <p:childTnLst>
                                    <p:set>
                                      <p:cBhvr>
                                        <p:cTn id="38" dur="1" fill="hold">
                                          <p:stCondLst>
                                            <p:cond delay="0"/>
                                          </p:stCondLst>
                                        </p:cTn>
                                        <p:tgtEl>
                                          <p:spTgt spid="3">
                                            <p:txEl>
                                              <p:pRg st="8" end="8"/>
                                            </p:txEl>
                                          </p:spTgt>
                                        </p:tgtEl>
                                        <p:attrNameLst>
                                          <p:attrName>style.visibility</p:attrName>
                                        </p:attrNameLst>
                                      </p:cBhvr>
                                      <p:to>
                                        <p:strVal val="visible"/>
                                      </p:to>
                                    </p:set>
                                    <p:anim calcmode="lin" valueType="num">
                                      <p:cBhvr additive="base">
                                        <p:cTn id="39" dur="500" fill="hold"/>
                                        <p:tgtEl>
                                          <p:spTgt spid="3">
                                            <p:txEl>
                                              <p:pRg st="8" end="8"/>
                                            </p:txEl>
                                          </p:spTgt>
                                        </p:tgtEl>
                                        <p:attrNameLst>
                                          <p:attrName>ppt_x</p:attrName>
                                        </p:attrNameLst>
                                      </p:cBhvr>
                                      <p:tavLst>
                                        <p:tav tm="0">
                                          <p:val>
                                            <p:strVal val="#ppt_x"/>
                                          </p:val>
                                        </p:tav>
                                        <p:tav tm="100000">
                                          <p:val>
                                            <p:strVal val="#ppt_x"/>
                                          </p:val>
                                        </p:tav>
                                      </p:tavLst>
                                    </p:anim>
                                    <p:anim calcmode="lin" valueType="num">
                                      <p:cBhvr additive="base">
                                        <p:cTn id="40" dur="500" fill="hold"/>
                                        <p:tgtEl>
                                          <p:spTgt spid="3">
                                            <p:txEl>
                                              <p:pRg st="8" end="8"/>
                                            </p:txEl>
                                          </p:spTgt>
                                        </p:tgtEl>
                                        <p:attrNameLst>
                                          <p:attrName>ppt_y</p:attrName>
                                        </p:attrNameLst>
                                      </p:cBhvr>
                                      <p:tavLst>
                                        <p:tav tm="0">
                                          <p:val>
                                            <p:strVal val="1+#ppt_h/2"/>
                                          </p:val>
                                        </p:tav>
                                        <p:tav tm="100000">
                                          <p:val>
                                            <p:strVal val="#ppt_y"/>
                                          </p:val>
                                        </p:tav>
                                      </p:tavLst>
                                    </p:anim>
                                  </p:childTnLst>
                                </p:cTn>
                              </p:par>
                              <p:par>
                                <p:cTn id="41" presetID="2" presetClass="entr" presetSubtype="4" fill="hold" nodeType="withEffect">
                                  <p:stCondLst>
                                    <p:cond delay="0"/>
                                  </p:stCondLst>
                                  <p:childTnLst>
                                    <p:set>
                                      <p:cBhvr>
                                        <p:cTn id="42" dur="1" fill="hold">
                                          <p:stCondLst>
                                            <p:cond delay="0"/>
                                          </p:stCondLst>
                                        </p:cTn>
                                        <p:tgtEl>
                                          <p:spTgt spid="3">
                                            <p:txEl>
                                              <p:pRg st="9" end="9"/>
                                            </p:txEl>
                                          </p:spTgt>
                                        </p:tgtEl>
                                        <p:attrNameLst>
                                          <p:attrName>style.visibility</p:attrName>
                                        </p:attrNameLst>
                                      </p:cBhvr>
                                      <p:to>
                                        <p:strVal val="visible"/>
                                      </p:to>
                                    </p:set>
                                    <p:anim calcmode="lin" valueType="num">
                                      <p:cBhvr additive="base">
                                        <p:cTn id="43" dur="500" fill="hold"/>
                                        <p:tgtEl>
                                          <p:spTgt spid="3">
                                            <p:txEl>
                                              <p:pRg st="9" end="9"/>
                                            </p:txEl>
                                          </p:spTgt>
                                        </p:tgtEl>
                                        <p:attrNameLst>
                                          <p:attrName>ppt_x</p:attrName>
                                        </p:attrNameLst>
                                      </p:cBhvr>
                                      <p:tavLst>
                                        <p:tav tm="0">
                                          <p:val>
                                            <p:strVal val="#ppt_x"/>
                                          </p:val>
                                        </p:tav>
                                        <p:tav tm="100000">
                                          <p:val>
                                            <p:strVal val="#ppt_x"/>
                                          </p:val>
                                        </p:tav>
                                      </p:tavLst>
                                    </p:anim>
                                    <p:anim calcmode="lin" valueType="num">
                                      <p:cBhvr additive="base">
                                        <p:cTn id="44" dur="500" fill="hold"/>
                                        <p:tgtEl>
                                          <p:spTgt spid="3">
                                            <p:txEl>
                                              <p:pRg st="9" end="9"/>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878D8C6-CF05-7B43-8777-DB1C3C7237C8}"/>
              </a:ext>
            </a:extLst>
          </p:cNvPr>
          <p:cNvSpPr>
            <a:spLocks noGrp="1"/>
          </p:cNvSpPr>
          <p:nvPr>
            <p:ph type="title"/>
          </p:nvPr>
        </p:nvSpPr>
        <p:spPr>
          <a:xfrm>
            <a:off x="892038" y="282365"/>
            <a:ext cx="9360915" cy="1229360"/>
          </a:xfrm>
        </p:spPr>
        <p:txBody>
          <a:bodyPr/>
          <a:lstStyle/>
          <a:p>
            <a:r>
              <a:rPr lang="en-US" sz="4000" dirty="0"/>
              <a:t>Does the Differential Capture of SDOH Data Further Social Divide?</a:t>
            </a:r>
          </a:p>
        </p:txBody>
      </p:sp>
      <p:graphicFrame>
        <p:nvGraphicFramePr>
          <p:cNvPr id="6" name="Chart 5">
            <a:extLst>
              <a:ext uri="{FF2B5EF4-FFF2-40B4-BE49-F238E27FC236}">
                <a16:creationId xmlns:a16="http://schemas.microsoft.com/office/drawing/2014/main" id="{902DB406-6F1C-6BAF-C284-D41B26B3BBE0}"/>
              </a:ext>
            </a:extLst>
          </p:cNvPr>
          <p:cNvGraphicFramePr/>
          <p:nvPr/>
        </p:nvGraphicFramePr>
        <p:xfrm>
          <a:off x="1963332" y="1867192"/>
          <a:ext cx="7912100" cy="4357158"/>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40500040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49DD469-AA38-5726-788D-B01FA2185AE1}"/>
              </a:ext>
            </a:extLst>
          </p:cNvPr>
          <p:cNvSpPr>
            <a:spLocks noGrp="1"/>
          </p:cNvSpPr>
          <p:nvPr>
            <p:ph type="body" sz="quarter" idx="10"/>
          </p:nvPr>
        </p:nvSpPr>
        <p:spPr/>
        <p:txBody>
          <a:bodyPr/>
          <a:lstStyle/>
          <a:p>
            <a:r>
              <a:rPr lang="en-US" sz="2400" dirty="0">
                <a:solidFill>
                  <a:schemeClr val="accent1"/>
                </a:solidFill>
                <a:latin typeface="+mj-lt"/>
              </a:rPr>
              <a:t>An endless social cycle</a:t>
            </a:r>
          </a:p>
        </p:txBody>
      </p:sp>
      <p:sp>
        <p:nvSpPr>
          <p:cNvPr id="4" name="Title 3">
            <a:extLst>
              <a:ext uri="{FF2B5EF4-FFF2-40B4-BE49-F238E27FC236}">
                <a16:creationId xmlns:a16="http://schemas.microsoft.com/office/drawing/2014/main" id="{BA0FB038-F8E8-366E-7590-072D506D1571}"/>
              </a:ext>
            </a:extLst>
          </p:cNvPr>
          <p:cNvSpPr>
            <a:spLocks noGrp="1"/>
          </p:cNvSpPr>
          <p:nvPr>
            <p:ph type="title"/>
          </p:nvPr>
        </p:nvSpPr>
        <p:spPr/>
        <p:txBody>
          <a:bodyPr/>
          <a:lstStyle/>
          <a:p>
            <a:r>
              <a:rPr lang="en-US" sz="4000" dirty="0">
                <a:cs typeface="Kanit Thin"/>
              </a:rPr>
              <a:t>What is Data Equity?</a:t>
            </a:r>
            <a:endParaRPr lang="en-US" sz="4000" dirty="0"/>
          </a:p>
        </p:txBody>
      </p:sp>
      <p:sp>
        <p:nvSpPr>
          <p:cNvPr id="5" name="Text Placeholder 4">
            <a:extLst>
              <a:ext uri="{FF2B5EF4-FFF2-40B4-BE49-F238E27FC236}">
                <a16:creationId xmlns:a16="http://schemas.microsoft.com/office/drawing/2014/main" id="{991421EB-35EB-617F-6B65-A463DB030082}"/>
              </a:ext>
            </a:extLst>
          </p:cNvPr>
          <p:cNvSpPr>
            <a:spLocks noGrp="1"/>
          </p:cNvSpPr>
          <p:nvPr>
            <p:ph type="body" sz="quarter" idx="11"/>
          </p:nvPr>
        </p:nvSpPr>
        <p:spPr>
          <a:xfrm>
            <a:off x="1005840" y="1828800"/>
            <a:ext cx="10936007" cy="2862322"/>
          </a:xfrm>
        </p:spPr>
        <p:txBody>
          <a:bodyPr/>
          <a:lstStyle/>
          <a:p>
            <a:pPr marL="285750" indent="-285750">
              <a:buFont typeface="Arial" panose="020B0604020202020204" pitchFamily="34" charset="0"/>
              <a:buChar char="•"/>
            </a:pPr>
            <a:r>
              <a:rPr lang="en-US" sz="2400" dirty="0">
                <a:cs typeface="Kanit Light"/>
              </a:rPr>
              <a:t>The consideration, through an equity lens, of the ways in which data is collected, analyzed, interpreted, and distributed. </a:t>
            </a:r>
            <a:endParaRPr lang="en-US" sz="2400" dirty="0"/>
          </a:p>
          <a:p>
            <a:pPr marL="285750" indent="-285750">
              <a:buFont typeface="Arial" panose="020B0604020202020204" pitchFamily="34" charset="0"/>
              <a:buChar char="•"/>
            </a:pPr>
            <a:r>
              <a:rPr lang="en-US" sz="2400" dirty="0">
                <a:cs typeface="Kanit Light"/>
              </a:rPr>
              <a:t>It underscores marginalized communities' unequal opportunities to provide, have their data interpreted and access data.</a:t>
            </a:r>
            <a:endParaRPr lang="en-US" sz="2400" dirty="0"/>
          </a:p>
          <a:p>
            <a:pPr marL="285750" indent="-285750">
              <a:buFont typeface="Arial" panose="020B0604020202020204" pitchFamily="34" charset="0"/>
              <a:buChar char="•"/>
            </a:pPr>
            <a:r>
              <a:rPr lang="en-US" sz="2400" dirty="0">
                <a:cs typeface="Kanit Light"/>
              </a:rPr>
              <a:t>At times, they can be harmed from data’s misuse. </a:t>
            </a:r>
            <a:endParaRPr lang="en-US" sz="2400" dirty="0"/>
          </a:p>
          <a:p>
            <a:pPr marL="285750" indent="-285750">
              <a:buFont typeface="Arial" panose="020B0604020202020204" pitchFamily="34" charset="0"/>
              <a:buChar char="•"/>
            </a:pPr>
            <a:r>
              <a:rPr lang="en-US" sz="2400" dirty="0">
                <a:cs typeface="Kanit Light"/>
              </a:rPr>
              <a:t>Data could potentially reinforce stereotypes, exacerbate racial bias, undermine social justice</a:t>
            </a:r>
            <a:endParaRPr lang="en-US" sz="2400" dirty="0"/>
          </a:p>
          <a:p>
            <a:endParaRPr lang="en-US" dirty="0"/>
          </a:p>
        </p:txBody>
      </p:sp>
      <p:sp>
        <p:nvSpPr>
          <p:cNvPr id="7" name="TextBox 6">
            <a:extLst>
              <a:ext uri="{FF2B5EF4-FFF2-40B4-BE49-F238E27FC236}">
                <a16:creationId xmlns:a16="http://schemas.microsoft.com/office/drawing/2014/main" id="{0FF336A9-B328-7128-BF81-997ECD2673EE}"/>
              </a:ext>
            </a:extLst>
          </p:cNvPr>
          <p:cNvSpPr txBox="1"/>
          <p:nvPr/>
        </p:nvSpPr>
        <p:spPr>
          <a:xfrm>
            <a:off x="801756" y="5746265"/>
            <a:ext cx="8726557" cy="307777"/>
          </a:xfrm>
          <a:prstGeom prst="rect">
            <a:avLst/>
          </a:prstGeom>
          <a:noFill/>
        </p:spPr>
        <p:txBody>
          <a:bodyPr wrap="square">
            <a:spAutoFit/>
          </a:bodyPr>
          <a:lstStyle/>
          <a:p>
            <a:r>
              <a:rPr lang="en-US" sz="1400" dirty="0">
                <a:hlinkClick r:id="rId2">
                  <a:extLst>
                    <a:ext uri="{A12FA001-AC4F-418D-AE19-62706E023703}">
                      <ahyp:hlinkClr xmlns:ahyp="http://schemas.microsoft.com/office/drawing/2018/hyperlinkcolor" val="tx"/>
                    </a:ext>
                  </a:extLst>
                </a:hlinkClick>
              </a:rPr>
              <a:t>Data Equity: What Is It, and Why Does It Matter? — Hawaii Data Collaborative</a:t>
            </a:r>
            <a:endParaRPr lang="en-US" sz="1400" dirty="0"/>
          </a:p>
        </p:txBody>
      </p:sp>
    </p:spTree>
    <p:extLst>
      <p:ext uri="{BB962C8B-B14F-4D97-AF65-F5344CB8AC3E}">
        <p14:creationId xmlns:p14="http://schemas.microsoft.com/office/powerpoint/2010/main" val="14586371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DC6DF4-D35F-6B88-5ACC-30A934F23F37}"/>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340971BC-411D-41AC-1C11-63B2A342CA2A}"/>
              </a:ext>
            </a:extLst>
          </p:cNvPr>
          <p:cNvSpPr>
            <a:spLocks noGrp="1"/>
          </p:cNvSpPr>
          <p:nvPr>
            <p:ph type="title"/>
          </p:nvPr>
        </p:nvSpPr>
        <p:spPr>
          <a:xfrm>
            <a:off x="874709" y="2954862"/>
            <a:ext cx="10784928" cy="1231106"/>
          </a:xfrm>
        </p:spPr>
        <p:txBody>
          <a:bodyPr/>
          <a:lstStyle/>
          <a:p>
            <a:r>
              <a:rPr lang="en-US" dirty="0"/>
              <a:t>EHR – More than Meets the Eye – Clinical Chronology and Social Factor Suspecting</a:t>
            </a:r>
          </a:p>
        </p:txBody>
      </p:sp>
    </p:spTree>
    <p:extLst>
      <p:ext uri="{BB962C8B-B14F-4D97-AF65-F5344CB8AC3E}">
        <p14:creationId xmlns:p14="http://schemas.microsoft.com/office/powerpoint/2010/main" val="3865831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C0104D-0A4E-8ECB-10E3-648AD546189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9A4DAD2-6C06-419D-DE29-0D22A4AD9DB9}"/>
              </a:ext>
            </a:extLst>
          </p:cNvPr>
          <p:cNvSpPr>
            <a:spLocks noGrp="1"/>
          </p:cNvSpPr>
          <p:nvPr>
            <p:ph type="ctrTitle"/>
          </p:nvPr>
        </p:nvSpPr>
        <p:spPr>
          <a:xfrm>
            <a:off x="574766" y="515846"/>
            <a:ext cx="8546690" cy="538586"/>
          </a:xfrm>
        </p:spPr>
        <p:txBody>
          <a:bodyPr>
            <a:normAutofit fontScale="90000"/>
          </a:bodyPr>
          <a:lstStyle/>
          <a:p>
            <a:pPr algn="l"/>
            <a:r>
              <a:rPr lang="en-US" dirty="0">
                <a:solidFill>
                  <a:schemeClr val="bg1"/>
                </a:solidFill>
                <a:latin typeface="Source Serif Pro" panose="02040603050405020204" pitchFamily="18" charset="0"/>
                <a:ea typeface="Source Serif Pro" panose="02040603050405020204" pitchFamily="18" charset="0"/>
              </a:rPr>
              <a:t>Faculty Disclosure Information</a:t>
            </a:r>
          </a:p>
        </p:txBody>
      </p:sp>
      <p:sp>
        <p:nvSpPr>
          <p:cNvPr id="6" name="Text Placeholder 2">
            <a:extLst>
              <a:ext uri="{FF2B5EF4-FFF2-40B4-BE49-F238E27FC236}">
                <a16:creationId xmlns:a16="http://schemas.microsoft.com/office/drawing/2014/main" id="{DFFE89EF-3DB0-8284-9160-BDB1CA1A61B2}"/>
              </a:ext>
            </a:extLst>
          </p:cNvPr>
          <p:cNvSpPr txBox="1">
            <a:spLocks/>
          </p:cNvSpPr>
          <p:nvPr/>
        </p:nvSpPr>
        <p:spPr>
          <a:xfrm>
            <a:off x="838200" y="1884612"/>
            <a:ext cx="10515600" cy="4668588"/>
          </a:xfrm>
          <a:prstGeom prst="rect">
            <a:avLst/>
          </a:prstGeom>
        </p:spPr>
        <p:txBody>
          <a:bodyPr vert="horz" lIns="91440" tIns="45720" rIns="91440" bIns="45720" rtlCol="0" anchor="t">
            <a:normAutofit fontScale="40000" lnSpcReduction="20000"/>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lumMod val="65000"/>
                    <a:lumOff val="35000"/>
                  </a:schemeClr>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r>
              <a:rPr lang="en-US" sz="5000" dirty="0">
                <a:solidFill>
                  <a:schemeClr val="bg2"/>
                </a:solidFill>
                <a:latin typeface="+mj-lt"/>
              </a:rPr>
              <a:t>I have the following financial relationships with the manufacturer(s) of any commercial product(s) and/or provider(s) of commercial services discussed in this CME activity:</a:t>
            </a:r>
            <a:endParaRPr lang="en-US" sz="5000" dirty="0">
              <a:solidFill>
                <a:schemeClr val="bg2"/>
              </a:solidFill>
              <a:latin typeface="+mj-lt"/>
              <a:cs typeface="Arial"/>
            </a:endParaRPr>
          </a:p>
          <a:p>
            <a:pPr marL="342900" indent="-342900" algn="l">
              <a:buChar char="•"/>
            </a:pPr>
            <a:r>
              <a:rPr lang="en-US" sz="5000" dirty="0">
                <a:solidFill>
                  <a:schemeClr val="bg2"/>
                </a:solidFill>
                <a:latin typeface="+mj-lt"/>
                <a:cs typeface="Arial"/>
              </a:rPr>
              <a:t>Stock/Bonds in: </a:t>
            </a:r>
            <a:r>
              <a:rPr lang="en-US" sz="5000" dirty="0" err="1">
                <a:solidFill>
                  <a:schemeClr val="bg2"/>
                </a:solidFill>
                <a:latin typeface="+mj-lt"/>
                <a:cs typeface="Arial"/>
              </a:rPr>
              <a:t>Lumeris</a:t>
            </a:r>
            <a:r>
              <a:rPr lang="en-US" sz="5000" dirty="0">
                <a:solidFill>
                  <a:schemeClr val="bg2"/>
                </a:solidFill>
                <a:latin typeface="+mj-lt"/>
                <a:cs typeface="Arial"/>
              </a:rPr>
              <a:t> Health</a:t>
            </a:r>
            <a:r>
              <a:rPr lang="en-US" sz="5000">
                <a:solidFill>
                  <a:schemeClr val="bg2"/>
                </a:solidFill>
                <a:latin typeface="+mj-lt"/>
                <a:cs typeface="Arial"/>
              </a:rPr>
              <a:t>, Cohere Health</a:t>
            </a:r>
            <a:endParaRPr lang="en-US" sz="5000" dirty="0">
              <a:solidFill>
                <a:schemeClr val="bg2"/>
              </a:solidFill>
              <a:latin typeface="+mj-lt"/>
              <a:cs typeface="Arial"/>
            </a:endParaRPr>
          </a:p>
          <a:p>
            <a:pPr marL="342900" indent="-342900" algn="l">
              <a:buChar char="•"/>
            </a:pPr>
            <a:r>
              <a:rPr lang="en-US" sz="5000" dirty="0">
                <a:solidFill>
                  <a:schemeClr val="bg2"/>
                </a:solidFill>
                <a:latin typeface="+mj-lt"/>
                <a:cs typeface="Arial"/>
              </a:rPr>
              <a:t>Consultant for: </a:t>
            </a:r>
            <a:r>
              <a:rPr lang="en-US" sz="5000" dirty="0" err="1">
                <a:solidFill>
                  <a:schemeClr val="bg2"/>
                </a:solidFill>
                <a:latin typeface="+mj-lt"/>
                <a:cs typeface="Arial"/>
              </a:rPr>
              <a:t>Emtelligent</a:t>
            </a:r>
            <a:r>
              <a:rPr lang="en-US" sz="5000" dirty="0">
                <a:solidFill>
                  <a:schemeClr val="bg2"/>
                </a:solidFill>
                <a:latin typeface="+mj-lt"/>
                <a:cs typeface="Arial"/>
              </a:rPr>
              <a:t>, EMCNL</a:t>
            </a:r>
          </a:p>
          <a:p>
            <a:pPr algn="l"/>
            <a:endParaRPr lang="en-US" sz="5000" dirty="0">
              <a:solidFill>
                <a:schemeClr val="bg2"/>
              </a:solidFill>
              <a:latin typeface="+mj-lt"/>
              <a:cs typeface="Arial"/>
            </a:endParaRPr>
          </a:p>
          <a:p>
            <a:pPr algn="l"/>
            <a:r>
              <a:rPr lang="en-US" sz="5000" dirty="0">
                <a:solidFill>
                  <a:schemeClr val="bg2"/>
                </a:solidFill>
                <a:latin typeface="+mj-lt"/>
                <a:cs typeface="Arial"/>
              </a:rPr>
              <a:t>I will give a balanced presentation using the best available evidence to support my conclusions and recommendations.</a:t>
            </a:r>
          </a:p>
          <a:p>
            <a:pPr algn="l"/>
            <a:endParaRPr lang="en-US" sz="5000" dirty="0">
              <a:solidFill>
                <a:schemeClr val="bg2"/>
              </a:solidFill>
              <a:latin typeface="+mj-lt"/>
              <a:cs typeface="Arial"/>
            </a:endParaRPr>
          </a:p>
          <a:p>
            <a:pPr algn="l"/>
            <a:r>
              <a:rPr lang="en-US" sz="5000" dirty="0">
                <a:solidFill>
                  <a:schemeClr val="bg2"/>
                </a:solidFill>
                <a:latin typeface="+mj-lt"/>
                <a:cs typeface="Arial"/>
              </a:rPr>
              <a:t>I </a:t>
            </a:r>
            <a:r>
              <a:rPr lang="en-US" sz="5000" b="1" u="sng" dirty="0">
                <a:solidFill>
                  <a:schemeClr val="bg2"/>
                </a:solidFill>
                <a:latin typeface="+mj-lt"/>
                <a:cs typeface="Arial"/>
              </a:rPr>
              <a:t>do not</a:t>
            </a:r>
            <a:r>
              <a:rPr lang="en-US" sz="5000" dirty="0">
                <a:solidFill>
                  <a:schemeClr val="bg2"/>
                </a:solidFill>
                <a:latin typeface="+mj-lt"/>
                <a:cs typeface="Arial"/>
              </a:rPr>
              <a:t> intend to discuss an unapproved/investigative use of commercial product/device in my presentation. </a:t>
            </a:r>
          </a:p>
          <a:p>
            <a:pPr algn="l"/>
            <a:endParaRPr lang="en-US" sz="5000" dirty="0">
              <a:solidFill>
                <a:schemeClr val="bg2"/>
              </a:solidFill>
              <a:latin typeface="+mj-lt"/>
              <a:cs typeface="Arial"/>
            </a:endParaRPr>
          </a:p>
          <a:p>
            <a:pPr algn="l"/>
            <a:r>
              <a:rPr lang="en-US" sz="5000" dirty="0">
                <a:solidFill>
                  <a:schemeClr val="bg2"/>
                </a:solidFill>
                <a:latin typeface="+mj-lt"/>
              </a:rPr>
              <a:t>You are not permitted to create any alterations of this presentation or to use it for commercial or other purposes without the prior written permission of the Conference or the Presenter. </a:t>
            </a:r>
          </a:p>
          <a:p>
            <a:pPr algn="l"/>
            <a:endParaRPr lang="en-US" sz="2000" dirty="0">
              <a:solidFill>
                <a:schemeClr val="bg2"/>
              </a:solidFill>
              <a:latin typeface="+mj-lt"/>
              <a:cs typeface="Arial"/>
            </a:endParaRPr>
          </a:p>
        </p:txBody>
      </p:sp>
    </p:spTree>
    <p:extLst>
      <p:ext uri="{BB962C8B-B14F-4D97-AF65-F5344CB8AC3E}">
        <p14:creationId xmlns:p14="http://schemas.microsoft.com/office/powerpoint/2010/main" val="185516767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B411F26-A9F9-DFDC-9D05-777CF82EF2EF}"/>
              </a:ext>
            </a:extLst>
          </p:cNvPr>
          <p:cNvSpPr>
            <a:spLocks noGrp="1"/>
          </p:cNvSpPr>
          <p:nvPr>
            <p:ph type="body" sz="quarter" idx="10"/>
          </p:nvPr>
        </p:nvSpPr>
        <p:spPr/>
        <p:txBody>
          <a:bodyPr/>
          <a:lstStyle/>
          <a:p>
            <a:r>
              <a:rPr lang="en-US" sz="1800" dirty="0"/>
              <a:t>Data Observations</a:t>
            </a:r>
          </a:p>
        </p:txBody>
      </p:sp>
      <p:sp>
        <p:nvSpPr>
          <p:cNvPr id="6" name="Title 5">
            <a:extLst>
              <a:ext uri="{FF2B5EF4-FFF2-40B4-BE49-F238E27FC236}">
                <a16:creationId xmlns:a16="http://schemas.microsoft.com/office/drawing/2014/main" id="{E099A4DC-3BAE-C7CE-16B0-86223D7C6566}"/>
              </a:ext>
            </a:extLst>
          </p:cNvPr>
          <p:cNvSpPr>
            <a:spLocks noGrp="1"/>
          </p:cNvSpPr>
          <p:nvPr>
            <p:ph type="title"/>
          </p:nvPr>
        </p:nvSpPr>
        <p:spPr/>
        <p:txBody>
          <a:bodyPr/>
          <a:lstStyle/>
          <a:p>
            <a:r>
              <a:rPr lang="en-US" sz="4000" dirty="0"/>
              <a:t>EHR Data Quality Study</a:t>
            </a:r>
          </a:p>
        </p:txBody>
      </p:sp>
      <p:sp>
        <p:nvSpPr>
          <p:cNvPr id="4" name="Text Placeholder 3">
            <a:extLst>
              <a:ext uri="{FF2B5EF4-FFF2-40B4-BE49-F238E27FC236}">
                <a16:creationId xmlns:a16="http://schemas.microsoft.com/office/drawing/2014/main" id="{27368E5F-38DC-F018-C22C-22A61E4F6C9F}"/>
              </a:ext>
            </a:extLst>
          </p:cNvPr>
          <p:cNvSpPr>
            <a:spLocks noGrp="1"/>
          </p:cNvSpPr>
          <p:nvPr>
            <p:ph type="body" sz="quarter" idx="11"/>
          </p:nvPr>
        </p:nvSpPr>
        <p:spPr>
          <a:xfrm>
            <a:off x="1005840" y="1828800"/>
            <a:ext cx="10936007" cy="1292662"/>
          </a:xfrm>
        </p:spPr>
        <p:txBody>
          <a:bodyPr/>
          <a:lstStyle/>
          <a:p>
            <a:pPr marL="457200" indent="-457200">
              <a:buFont typeface="Arial" panose="020B0604020202020204" pitchFamily="34" charset="0"/>
              <a:buChar char="•"/>
            </a:pPr>
            <a:r>
              <a:rPr lang="en-US" sz="2400" dirty="0">
                <a:cs typeface="Kanit ExtraLight" panose="00000300000000000000" pitchFamily="50" charset="-34"/>
              </a:rPr>
              <a:t>40,242 CCDs studied</a:t>
            </a:r>
          </a:p>
          <a:p>
            <a:pPr marL="829361" lvl="1" indent="-342900">
              <a:buFont typeface="Arial" panose="020B0604020202020204" pitchFamily="34" charset="0"/>
              <a:buChar char="•"/>
            </a:pPr>
            <a:r>
              <a:rPr lang="en-US" sz="2000" dirty="0">
                <a:solidFill>
                  <a:schemeClr val="bg2"/>
                </a:solidFill>
                <a:latin typeface="+mj-lt"/>
                <a:cs typeface="Kanit ExtraLight" panose="00000300000000000000" pitchFamily="50" charset="-34"/>
              </a:rPr>
              <a:t>Spread across races, ethnicities, age groups, religions, genders, and languages</a:t>
            </a:r>
          </a:p>
          <a:p>
            <a:pPr marL="829361" lvl="1" indent="-342900">
              <a:buFont typeface="Arial" panose="020B0604020202020204" pitchFamily="34" charset="0"/>
              <a:buChar char="•"/>
            </a:pPr>
            <a:r>
              <a:rPr lang="en-US" sz="2000" dirty="0">
                <a:solidFill>
                  <a:schemeClr val="bg2"/>
                </a:solidFill>
                <a:latin typeface="+mj-lt"/>
                <a:cs typeface="Kanit ExtraLight" panose="00000300000000000000" pitchFamily="50" charset="-34"/>
              </a:rPr>
              <a:t>Represented various care settings (ER, specialty care, primary care)</a:t>
            </a:r>
          </a:p>
          <a:p>
            <a:pPr marL="829361" lvl="1" indent="-342900">
              <a:buFont typeface="Arial" panose="020B0604020202020204" pitchFamily="34" charset="0"/>
              <a:buChar char="•"/>
            </a:pPr>
            <a:r>
              <a:rPr lang="en-US" sz="2000" dirty="0">
                <a:solidFill>
                  <a:schemeClr val="bg2"/>
                </a:solidFill>
                <a:latin typeface="+mj-lt"/>
                <a:cs typeface="Kanit ExtraLight" panose="00000300000000000000" pitchFamily="50" charset="-34"/>
              </a:rPr>
              <a:t>Represented various zip codes (urban, suburban, rural) in various states</a:t>
            </a:r>
          </a:p>
        </p:txBody>
      </p:sp>
    </p:spTree>
    <p:extLst>
      <p:ext uri="{BB962C8B-B14F-4D97-AF65-F5344CB8AC3E}">
        <p14:creationId xmlns:p14="http://schemas.microsoft.com/office/powerpoint/2010/main" val="922966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F64784-E782-A107-1E4C-5B38446C840F}"/>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D7A3292C-9984-9788-E689-C97704929B57}"/>
              </a:ext>
            </a:extLst>
          </p:cNvPr>
          <p:cNvSpPr>
            <a:spLocks noGrp="1"/>
          </p:cNvSpPr>
          <p:nvPr>
            <p:ph type="body" sz="quarter" idx="10"/>
          </p:nvPr>
        </p:nvSpPr>
        <p:spPr/>
        <p:txBody>
          <a:bodyPr/>
          <a:lstStyle/>
          <a:p>
            <a:r>
              <a:rPr lang="en-US" sz="1800" dirty="0"/>
              <a:t>Data Observations</a:t>
            </a:r>
          </a:p>
        </p:txBody>
      </p:sp>
      <p:sp>
        <p:nvSpPr>
          <p:cNvPr id="6" name="Title 5">
            <a:extLst>
              <a:ext uri="{FF2B5EF4-FFF2-40B4-BE49-F238E27FC236}">
                <a16:creationId xmlns:a16="http://schemas.microsoft.com/office/drawing/2014/main" id="{E628C538-8C8C-12C6-247F-9481164FA923}"/>
              </a:ext>
            </a:extLst>
          </p:cNvPr>
          <p:cNvSpPr>
            <a:spLocks noGrp="1"/>
          </p:cNvSpPr>
          <p:nvPr>
            <p:ph type="title"/>
          </p:nvPr>
        </p:nvSpPr>
        <p:spPr>
          <a:xfrm>
            <a:off x="367145" y="83448"/>
            <a:ext cx="11010898" cy="1229360"/>
          </a:xfrm>
        </p:spPr>
        <p:txBody>
          <a:bodyPr/>
          <a:lstStyle/>
          <a:p>
            <a:r>
              <a:rPr lang="en-US" sz="4000" dirty="0"/>
              <a:t>Human Readable vs. Machine Readable</a:t>
            </a:r>
          </a:p>
        </p:txBody>
      </p:sp>
      <p:sp>
        <p:nvSpPr>
          <p:cNvPr id="14" name="TextBox 13">
            <a:extLst>
              <a:ext uri="{FF2B5EF4-FFF2-40B4-BE49-F238E27FC236}">
                <a16:creationId xmlns:a16="http://schemas.microsoft.com/office/drawing/2014/main" id="{AFD1EAC5-C81B-91B3-627C-57AACF4DB66E}"/>
              </a:ext>
            </a:extLst>
          </p:cNvPr>
          <p:cNvSpPr txBox="1"/>
          <p:nvPr/>
        </p:nvSpPr>
        <p:spPr>
          <a:xfrm>
            <a:off x="367145" y="1170536"/>
            <a:ext cx="10515600" cy="369332"/>
          </a:xfrm>
          <a:prstGeom prst="rect">
            <a:avLst/>
          </a:prstGeom>
          <a:noFill/>
        </p:spPr>
        <p:txBody>
          <a:bodyPr wrap="square">
            <a:spAutoFit/>
          </a:bodyPr>
          <a:lstStyle/>
          <a:p>
            <a:r>
              <a:rPr lang="en-US" sz="1800" dirty="0">
                <a:solidFill>
                  <a:schemeClr val="bg2"/>
                </a:solidFill>
                <a:latin typeface="+mj-lt"/>
              </a:rPr>
              <a:t>Impact on Size and Count</a:t>
            </a:r>
            <a:endParaRPr lang="en-US" dirty="0">
              <a:solidFill>
                <a:schemeClr val="bg2"/>
              </a:solidFill>
              <a:latin typeface="+mj-lt"/>
            </a:endParaRPr>
          </a:p>
        </p:txBody>
      </p:sp>
      <p:sp>
        <p:nvSpPr>
          <p:cNvPr id="3" name="Text Placeholder 3">
            <a:extLst>
              <a:ext uri="{FF2B5EF4-FFF2-40B4-BE49-F238E27FC236}">
                <a16:creationId xmlns:a16="http://schemas.microsoft.com/office/drawing/2014/main" id="{F9013E7A-EB1B-ED4C-A292-83E96FEC814D}"/>
              </a:ext>
            </a:extLst>
          </p:cNvPr>
          <p:cNvSpPr txBox="1">
            <a:spLocks/>
          </p:cNvSpPr>
          <p:nvPr/>
        </p:nvSpPr>
        <p:spPr>
          <a:xfrm>
            <a:off x="6216573" y="1883467"/>
            <a:ext cx="3895622" cy="337343"/>
          </a:xfrm>
          <a:prstGeom prst="rect">
            <a:avLst/>
          </a:prstGeom>
        </p:spPr>
        <p:txBody>
          <a:bodyPr/>
          <a:lstStyle>
            <a:lvl1pPr marL="0">
              <a:defRPr>
                <a:solidFill>
                  <a:schemeClr val="bg2"/>
                </a:solidFill>
                <a:latin typeface="+mj-lt"/>
                <a:ea typeface="+mn-ea"/>
                <a:cs typeface="+mn-cs"/>
              </a:defRPr>
            </a:lvl1pPr>
            <a:lvl2pPr marL="486461">
              <a:defRPr>
                <a:latin typeface="+mn-lt"/>
                <a:ea typeface="+mn-ea"/>
                <a:cs typeface="+mn-cs"/>
              </a:defRPr>
            </a:lvl2pPr>
            <a:lvl3pPr marL="972922">
              <a:defRPr>
                <a:latin typeface="+mn-lt"/>
                <a:ea typeface="+mn-ea"/>
                <a:cs typeface="+mn-cs"/>
              </a:defRPr>
            </a:lvl3pPr>
            <a:lvl4pPr marL="1459382">
              <a:defRPr>
                <a:latin typeface="+mn-lt"/>
                <a:ea typeface="+mn-ea"/>
                <a:cs typeface="+mn-cs"/>
              </a:defRPr>
            </a:lvl4pPr>
            <a:lvl5pPr marL="1945843">
              <a:defRPr>
                <a:latin typeface="+mn-lt"/>
                <a:ea typeface="+mn-ea"/>
                <a:cs typeface="+mn-cs"/>
              </a:defRPr>
            </a:lvl5pPr>
            <a:lvl6pPr marL="2432304">
              <a:defRPr>
                <a:latin typeface="+mn-lt"/>
                <a:ea typeface="+mn-ea"/>
                <a:cs typeface="+mn-cs"/>
              </a:defRPr>
            </a:lvl6pPr>
            <a:lvl7pPr marL="2918765">
              <a:defRPr>
                <a:latin typeface="+mn-lt"/>
                <a:ea typeface="+mn-ea"/>
                <a:cs typeface="+mn-cs"/>
              </a:defRPr>
            </a:lvl7pPr>
            <a:lvl8pPr marL="3405226">
              <a:defRPr>
                <a:latin typeface="+mn-lt"/>
                <a:ea typeface="+mn-ea"/>
                <a:cs typeface="+mn-cs"/>
              </a:defRPr>
            </a:lvl8pPr>
            <a:lvl9pPr marL="3891686">
              <a:defRPr>
                <a:latin typeface="+mn-lt"/>
                <a:ea typeface="+mn-ea"/>
                <a:cs typeface="+mn-cs"/>
              </a:defRPr>
            </a:lvl9pPr>
          </a:lstStyle>
          <a:p>
            <a:r>
              <a:rPr lang="en-US" kern="0" dirty="0"/>
              <a:t>Machine Readable</a:t>
            </a:r>
          </a:p>
        </p:txBody>
      </p:sp>
      <p:sp>
        <p:nvSpPr>
          <p:cNvPr id="4" name="Text Placeholder 5">
            <a:extLst>
              <a:ext uri="{FF2B5EF4-FFF2-40B4-BE49-F238E27FC236}">
                <a16:creationId xmlns:a16="http://schemas.microsoft.com/office/drawing/2014/main" id="{BEF36D19-6B19-B503-CD4E-145C96512621}"/>
              </a:ext>
            </a:extLst>
          </p:cNvPr>
          <p:cNvSpPr txBox="1">
            <a:spLocks/>
          </p:cNvSpPr>
          <p:nvPr/>
        </p:nvSpPr>
        <p:spPr>
          <a:xfrm>
            <a:off x="737221" y="1825197"/>
            <a:ext cx="3895622" cy="337343"/>
          </a:xfrm>
          <a:prstGeom prst="rect">
            <a:avLst/>
          </a:prstGeom>
        </p:spPr>
        <p:txBody>
          <a:bodyPr/>
          <a:lstStyle>
            <a:lvl1pPr marL="0">
              <a:defRPr>
                <a:solidFill>
                  <a:schemeClr val="bg2"/>
                </a:solidFill>
                <a:latin typeface="+mj-lt"/>
                <a:ea typeface="+mn-ea"/>
                <a:cs typeface="+mn-cs"/>
              </a:defRPr>
            </a:lvl1pPr>
            <a:lvl2pPr marL="486461">
              <a:defRPr>
                <a:latin typeface="+mn-lt"/>
                <a:ea typeface="+mn-ea"/>
                <a:cs typeface="+mn-cs"/>
              </a:defRPr>
            </a:lvl2pPr>
            <a:lvl3pPr marL="972922">
              <a:defRPr>
                <a:latin typeface="+mn-lt"/>
                <a:ea typeface="+mn-ea"/>
                <a:cs typeface="+mn-cs"/>
              </a:defRPr>
            </a:lvl3pPr>
            <a:lvl4pPr marL="1459382">
              <a:defRPr>
                <a:latin typeface="+mn-lt"/>
                <a:ea typeface="+mn-ea"/>
                <a:cs typeface="+mn-cs"/>
              </a:defRPr>
            </a:lvl4pPr>
            <a:lvl5pPr marL="1945843">
              <a:defRPr>
                <a:latin typeface="+mn-lt"/>
                <a:ea typeface="+mn-ea"/>
                <a:cs typeface="+mn-cs"/>
              </a:defRPr>
            </a:lvl5pPr>
            <a:lvl6pPr marL="2432304">
              <a:defRPr>
                <a:latin typeface="+mn-lt"/>
                <a:ea typeface="+mn-ea"/>
                <a:cs typeface="+mn-cs"/>
              </a:defRPr>
            </a:lvl6pPr>
            <a:lvl7pPr marL="2918765">
              <a:defRPr>
                <a:latin typeface="+mn-lt"/>
                <a:ea typeface="+mn-ea"/>
                <a:cs typeface="+mn-cs"/>
              </a:defRPr>
            </a:lvl7pPr>
            <a:lvl8pPr marL="3405226">
              <a:defRPr>
                <a:latin typeface="+mn-lt"/>
                <a:ea typeface="+mn-ea"/>
                <a:cs typeface="+mn-cs"/>
              </a:defRPr>
            </a:lvl8pPr>
            <a:lvl9pPr marL="3891686">
              <a:defRPr>
                <a:latin typeface="+mn-lt"/>
                <a:ea typeface="+mn-ea"/>
                <a:cs typeface="+mn-cs"/>
              </a:defRPr>
            </a:lvl9pPr>
          </a:lstStyle>
          <a:p>
            <a:r>
              <a:rPr lang="en-US" kern="0" dirty="0"/>
              <a:t>Human Readable</a:t>
            </a:r>
          </a:p>
        </p:txBody>
      </p:sp>
      <p:pic>
        <p:nvPicPr>
          <p:cNvPr id="11" name="Picture 10">
            <a:extLst>
              <a:ext uri="{FF2B5EF4-FFF2-40B4-BE49-F238E27FC236}">
                <a16:creationId xmlns:a16="http://schemas.microsoft.com/office/drawing/2014/main" id="{69E1A5FA-471F-63C2-8446-41B8669A567D}"/>
              </a:ext>
            </a:extLst>
          </p:cNvPr>
          <p:cNvPicPr>
            <a:picLocks noChangeAspect="1"/>
          </p:cNvPicPr>
          <p:nvPr/>
        </p:nvPicPr>
        <p:blipFill>
          <a:blip r:embed="rId3"/>
          <a:stretch>
            <a:fillRect/>
          </a:stretch>
        </p:blipFill>
        <p:spPr>
          <a:xfrm>
            <a:off x="824288" y="2224812"/>
            <a:ext cx="4939870" cy="3462652"/>
          </a:xfrm>
          <a:prstGeom prst="rect">
            <a:avLst/>
          </a:prstGeom>
        </p:spPr>
      </p:pic>
      <p:pic>
        <p:nvPicPr>
          <p:cNvPr id="12" name="Picture 11">
            <a:extLst>
              <a:ext uri="{FF2B5EF4-FFF2-40B4-BE49-F238E27FC236}">
                <a16:creationId xmlns:a16="http://schemas.microsoft.com/office/drawing/2014/main" id="{73D0EE75-18A3-134C-5BEA-25AD8F9F8E14}"/>
              </a:ext>
            </a:extLst>
          </p:cNvPr>
          <p:cNvPicPr>
            <a:picLocks noChangeAspect="1"/>
          </p:cNvPicPr>
          <p:nvPr/>
        </p:nvPicPr>
        <p:blipFill>
          <a:blip r:embed="rId4"/>
          <a:stretch>
            <a:fillRect/>
          </a:stretch>
        </p:blipFill>
        <p:spPr>
          <a:xfrm>
            <a:off x="6319033" y="2650504"/>
            <a:ext cx="5656099" cy="2659335"/>
          </a:xfrm>
          <a:prstGeom prst="rect">
            <a:avLst/>
          </a:prstGeom>
        </p:spPr>
      </p:pic>
      <p:sp>
        <p:nvSpPr>
          <p:cNvPr id="13" name="Text Placeholder 5">
            <a:extLst>
              <a:ext uri="{FF2B5EF4-FFF2-40B4-BE49-F238E27FC236}">
                <a16:creationId xmlns:a16="http://schemas.microsoft.com/office/drawing/2014/main" id="{7ADE58FA-934F-C32C-5B51-E869082A69B4}"/>
              </a:ext>
            </a:extLst>
          </p:cNvPr>
          <p:cNvSpPr txBox="1">
            <a:spLocks/>
          </p:cNvSpPr>
          <p:nvPr/>
        </p:nvSpPr>
        <p:spPr>
          <a:xfrm>
            <a:off x="776008" y="5837341"/>
            <a:ext cx="5209343" cy="337343"/>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lang="en-US" sz="2400" b="0" i="0" kern="1200" baseline="0" dirty="0">
                <a:solidFill>
                  <a:schemeClr val="bg2"/>
                </a:solidFill>
                <a:latin typeface="Kanit Light" pitchFamily="2" charset="-34"/>
                <a:ea typeface="+mn-ea"/>
                <a:cs typeface="Kanit Light" pitchFamily="2" charset="-34"/>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dirty="0">
                <a:latin typeface="+mj-lt"/>
              </a:rPr>
              <a:t>More Likely To Increase Size of Document (MB)</a:t>
            </a:r>
          </a:p>
        </p:txBody>
      </p:sp>
      <p:sp>
        <p:nvSpPr>
          <p:cNvPr id="15" name="Text Placeholder 5">
            <a:extLst>
              <a:ext uri="{FF2B5EF4-FFF2-40B4-BE49-F238E27FC236}">
                <a16:creationId xmlns:a16="http://schemas.microsoft.com/office/drawing/2014/main" id="{FD059731-E754-4DAF-3AD4-8BAD6DA46922}"/>
              </a:ext>
            </a:extLst>
          </p:cNvPr>
          <p:cNvSpPr txBox="1">
            <a:spLocks/>
          </p:cNvSpPr>
          <p:nvPr/>
        </p:nvSpPr>
        <p:spPr>
          <a:xfrm>
            <a:off x="6319033" y="5871431"/>
            <a:ext cx="5209343" cy="337343"/>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lang="en-US" sz="2400" b="0" i="0" kern="1200" baseline="0" dirty="0">
                <a:solidFill>
                  <a:schemeClr val="bg2"/>
                </a:solidFill>
                <a:latin typeface="Kanit Light" pitchFamily="2" charset="-34"/>
                <a:ea typeface="+mn-ea"/>
                <a:cs typeface="Kanit Light" pitchFamily="2" charset="-34"/>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800" dirty="0">
                <a:latin typeface="+mj-lt"/>
              </a:rPr>
              <a:t>More Likely To Increase Count of Completeness and Syntax Rules of Document </a:t>
            </a:r>
          </a:p>
        </p:txBody>
      </p:sp>
    </p:spTree>
    <p:extLst>
      <p:ext uri="{BB962C8B-B14F-4D97-AF65-F5344CB8AC3E}">
        <p14:creationId xmlns:p14="http://schemas.microsoft.com/office/powerpoint/2010/main" val="1397165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39FFAE-FB4D-F833-921E-F67D4833DEFF}"/>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195FB839-96F7-3D16-6AF1-B5ADC30DF038}"/>
              </a:ext>
            </a:extLst>
          </p:cNvPr>
          <p:cNvSpPr>
            <a:spLocks noGrp="1"/>
          </p:cNvSpPr>
          <p:nvPr>
            <p:ph type="body" sz="quarter" idx="10"/>
          </p:nvPr>
        </p:nvSpPr>
        <p:spPr/>
        <p:txBody>
          <a:bodyPr/>
          <a:lstStyle/>
          <a:p>
            <a:r>
              <a:rPr lang="en-US" sz="1800" dirty="0"/>
              <a:t>Data Observations</a:t>
            </a:r>
          </a:p>
        </p:txBody>
      </p:sp>
      <p:sp>
        <p:nvSpPr>
          <p:cNvPr id="6" name="Title 5">
            <a:extLst>
              <a:ext uri="{FF2B5EF4-FFF2-40B4-BE49-F238E27FC236}">
                <a16:creationId xmlns:a16="http://schemas.microsoft.com/office/drawing/2014/main" id="{BDD8609A-8D49-2168-CD3A-C9CECFEE0304}"/>
              </a:ext>
            </a:extLst>
          </p:cNvPr>
          <p:cNvSpPr>
            <a:spLocks noGrp="1"/>
          </p:cNvSpPr>
          <p:nvPr>
            <p:ph type="title"/>
          </p:nvPr>
        </p:nvSpPr>
        <p:spPr>
          <a:xfrm>
            <a:off x="367145" y="83448"/>
            <a:ext cx="11010898" cy="1229360"/>
          </a:xfrm>
        </p:spPr>
        <p:txBody>
          <a:bodyPr/>
          <a:lstStyle/>
          <a:p>
            <a:r>
              <a:rPr lang="en-US" sz="4000" dirty="0"/>
              <a:t>Human Readable vs. Machine Readable</a:t>
            </a:r>
          </a:p>
        </p:txBody>
      </p:sp>
      <p:sp>
        <p:nvSpPr>
          <p:cNvPr id="14" name="TextBox 13">
            <a:extLst>
              <a:ext uri="{FF2B5EF4-FFF2-40B4-BE49-F238E27FC236}">
                <a16:creationId xmlns:a16="http://schemas.microsoft.com/office/drawing/2014/main" id="{5ADE990B-19FA-32CD-CDF9-A6FBEB88F166}"/>
              </a:ext>
            </a:extLst>
          </p:cNvPr>
          <p:cNvSpPr txBox="1"/>
          <p:nvPr/>
        </p:nvSpPr>
        <p:spPr>
          <a:xfrm>
            <a:off x="367145" y="1170536"/>
            <a:ext cx="10515600" cy="369332"/>
          </a:xfrm>
          <a:prstGeom prst="rect">
            <a:avLst/>
          </a:prstGeom>
          <a:noFill/>
        </p:spPr>
        <p:txBody>
          <a:bodyPr wrap="square">
            <a:spAutoFit/>
          </a:bodyPr>
          <a:lstStyle/>
          <a:p>
            <a:r>
              <a:rPr lang="en-US" sz="1800" dirty="0">
                <a:solidFill>
                  <a:schemeClr val="bg2"/>
                </a:solidFill>
                <a:latin typeface="+mj-lt"/>
              </a:rPr>
              <a:t>Impact on Size and Count</a:t>
            </a:r>
            <a:endParaRPr lang="en-US" dirty="0">
              <a:solidFill>
                <a:schemeClr val="bg2"/>
              </a:solidFill>
              <a:latin typeface="+mj-lt"/>
            </a:endParaRPr>
          </a:p>
        </p:txBody>
      </p:sp>
      <p:pic>
        <p:nvPicPr>
          <p:cNvPr id="5" name="Picture 4">
            <a:extLst>
              <a:ext uri="{FF2B5EF4-FFF2-40B4-BE49-F238E27FC236}">
                <a16:creationId xmlns:a16="http://schemas.microsoft.com/office/drawing/2014/main" id="{28533D2E-D411-9860-0B2B-22EF24F4C8C9}"/>
              </a:ext>
            </a:extLst>
          </p:cNvPr>
          <p:cNvPicPr>
            <a:picLocks noChangeAspect="1"/>
          </p:cNvPicPr>
          <p:nvPr/>
        </p:nvPicPr>
        <p:blipFill>
          <a:blip r:embed="rId3"/>
          <a:stretch>
            <a:fillRect/>
          </a:stretch>
        </p:blipFill>
        <p:spPr>
          <a:xfrm>
            <a:off x="1230086" y="1941277"/>
            <a:ext cx="9421848" cy="4498017"/>
          </a:xfrm>
          <a:prstGeom prst="rect">
            <a:avLst/>
          </a:prstGeom>
        </p:spPr>
      </p:pic>
      <p:sp>
        <p:nvSpPr>
          <p:cNvPr id="7" name="Rectangle: Rounded Corners 6">
            <a:extLst>
              <a:ext uri="{FF2B5EF4-FFF2-40B4-BE49-F238E27FC236}">
                <a16:creationId xmlns:a16="http://schemas.microsoft.com/office/drawing/2014/main" id="{08DB5C18-FF5C-F0EA-6FDA-9ED9F9F35755}"/>
              </a:ext>
            </a:extLst>
          </p:cNvPr>
          <p:cNvSpPr/>
          <p:nvPr/>
        </p:nvSpPr>
        <p:spPr>
          <a:xfrm>
            <a:off x="1230086" y="2423924"/>
            <a:ext cx="7259921" cy="206828"/>
          </a:xfrm>
          <a:prstGeom prst="roundRect">
            <a:avLst/>
          </a:prstGeom>
          <a:noFill/>
          <a:ln w="571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Rounded Corners 7">
            <a:extLst>
              <a:ext uri="{FF2B5EF4-FFF2-40B4-BE49-F238E27FC236}">
                <a16:creationId xmlns:a16="http://schemas.microsoft.com/office/drawing/2014/main" id="{36A15F1F-252B-4D2F-6DDC-995D20D939CA}"/>
              </a:ext>
            </a:extLst>
          </p:cNvPr>
          <p:cNvSpPr/>
          <p:nvPr/>
        </p:nvSpPr>
        <p:spPr>
          <a:xfrm>
            <a:off x="1230086" y="2825403"/>
            <a:ext cx="8490857" cy="3782225"/>
          </a:xfrm>
          <a:prstGeom prst="roundRect">
            <a:avLst/>
          </a:prstGeom>
          <a:noFill/>
          <a:ln w="571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 Placeholder 5">
            <a:extLst>
              <a:ext uri="{FF2B5EF4-FFF2-40B4-BE49-F238E27FC236}">
                <a16:creationId xmlns:a16="http://schemas.microsoft.com/office/drawing/2014/main" id="{3DCAA102-C9F6-7102-AFEB-DDCF495815FC}"/>
              </a:ext>
            </a:extLst>
          </p:cNvPr>
          <p:cNvSpPr txBox="1">
            <a:spLocks/>
          </p:cNvSpPr>
          <p:nvPr/>
        </p:nvSpPr>
        <p:spPr>
          <a:xfrm>
            <a:off x="3793142" y="5928683"/>
            <a:ext cx="5209343" cy="337343"/>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lang="en-US" sz="2400" b="0" i="0" kern="1200" baseline="0" dirty="0">
                <a:solidFill>
                  <a:schemeClr val="bg2"/>
                </a:solidFill>
                <a:latin typeface="Kanit Light" pitchFamily="2" charset="-34"/>
                <a:ea typeface="+mn-ea"/>
                <a:cs typeface="Kanit Light" pitchFamily="2" charset="-34"/>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dirty="0"/>
              <a:t>Human Readable - More Likely To Increase Size of Document (MB)</a:t>
            </a:r>
          </a:p>
        </p:txBody>
      </p:sp>
      <p:sp>
        <p:nvSpPr>
          <p:cNvPr id="10" name="Text Placeholder 5">
            <a:extLst>
              <a:ext uri="{FF2B5EF4-FFF2-40B4-BE49-F238E27FC236}">
                <a16:creationId xmlns:a16="http://schemas.microsoft.com/office/drawing/2014/main" id="{F28C3145-E5F8-723A-9AE9-1F9EAB4C3953}"/>
              </a:ext>
            </a:extLst>
          </p:cNvPr>
          <p:cNvSpPr txBox="1">
            <a:spLocks/>
          </p:cNvSpPr>
          <p:nvPr/>
        </p:nvSpPr>
        <p:spPr>
          <a:xfrm>
            <a:off x="6610121" y="1953577"/>
            <a:ext cx="5581880" cy="337343"/>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lang="en-US" sz="2400" b="0" i="0" kern="1200" baseline="0" dirty="0">
                <a:solidFill>
                  <a:schemeClr val="bg2"/>
                </a:solidFill>
                <a:latin typeface="Kanit Light" pitchFamily="2" charset="-34"/>
                <a:ea typeface="+mn-ea"/>
                <a:cs typeface="Kanit Light" pitchFamily="2" charset="-34"/>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dirty="0"/>
              <a:t>Machine Readable - More Likely To Increase Count of Completeness and Syntax Rules of Document </a:t>
            </a:r>
          </a:p>
        </p:txBody>
      </p:sp>
    </p:spTree>
    <p:extLst>
      <p:ext uri="{BB962C8B-B14F-4D97-AF65-F5344CB8AC3E}">
        <p14:creationId xmlns:p14="http://schemas.microsoft.com/office/powerpoint/2010/main" val="34370721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CDF0B2-60DE-A8CF-2188-11C9F13B557E}"/>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5138841A-83C5-7F68-73BC-CBAF9D514B7F}"/>
              </a:ext>
            </a:extLst>
          </p:cNvPr>
          <p:cNvSpPr>
            <a:spLocks noGrp="1"/>
          </p:cNvSpPr>
          <p:nvPr>
            <p:ph type="title"/>
          </p:nvPr>
        </p:nvSpPr>
        <p:spPr>
          <a:xfrm>
            <a:off x="874709" y="2954862"/>
            <a:ext cx="10784928" cy="1231106"/>
          </a:xfrm>
        </p:spPr>
        <p:txBody>
          <a:bodyPr/>
          <a:lstStyle/>
          <a:p>
            <a:r>
              <a:rPr lang="en-US" dirty="0"/>
              <a:t>Do National Data Quality Standards Drive True Data Quality?</a:t>
            </a:r>
          </a:p>
        </p:txBody>
      </p:sp>
    </p:spTree>
    <p:extLst>
      <p:ext uri="{BB962C8B-B14F-4D97-AF65-F5344CB8AC3E}">
        <p14:creationId xmlns:p14="http://schemas.microsoft.com/office/powerpoint/2010/main" val="748890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DB92764-683E-C1F3-F0D8-749DF4FED3F0}"/>
              </a:ext>
            </a:extLst>
          </p:cNvPr>
          <p:cNvSpPr>
            <a:spLocks noGrp="1"/>
          </p:cNvSpPr>
          <p:nvPr>
            <p:ph type="body" sz="quarter" idx="10"/>
          </p:nvPr>
        </p:nvSpPr>
        <p:spPr>
          <a:xfrm>
            <a:off x="977463" y="1121406"/>
            <a:ext cx="10964384" cy="461554"/>
          </a:xfrm>
        </p:spPr>
        <p:txBody>
          <a:bodyPr/>
          <a:lstStyle/>
          <a:p>
            <a:r>
              <a:rPr lang="en-US" sz="1800" dirty="0" err="1">
                <a:solidFill>
                  <a:schemeClr val="bg2"/>
                </a:solidFill>
                <a:latin typeface="+mj-lt"/>
              </a:rPr>
              <a:t>Schematron</a:t>
            </a:r>
            <a:r>
              <a:rPr lang="en-US" sz="1800" dirty="0">
                <a:solidFill>
                  <a:schemeClr val="bg2"/>
                </a:solidFill>
                <a:latin typeface="+mj-lt"/>
              </a:rPr>
              <a:t> vs. Completeness and Syntax</a:t>
            </a:r>
          </a:p>
          <a:p>
            <a:endParaRPr lang="en-US" dirty="0"/>
          </a:p>
          <a:p>
            <a:endParaRPr lang="en-US" dirty="0"/>
          </a:p>
        </p:txBody>
      </p:sp>
      <p:sp>
        <p:nvSpPr>
          <p:cNvPr id="6" name="Title 5">
            <a:extLst>
              <a:ext uri="{FF2B5EF4-FFF2-40B4-BE49-F238E27FC236}">
                <a16:creationId xmlns:a16="http://schemas.microsoft.com/office/drawing/2014/main" id="{A5DCEFEA-6537-4203-D2DA-B966497FF70D}"/>
              </a:ext>
            </a:extLst>
          </p:cNvPr>
          <p:cNvSpPr>
            <a:spLocks noGrp="1"/>
          </p:cNvSpPr>
          <p:nvPr>
            <p:ph type="title"/>
          </p:nvPr>
        </p:nvSpPr>
        <p:spPr>
          <a:xfrm>
            <a:off x="930949" y="0"/>
            <a:ext cx="9370642" cy="1229360"/>
          </a:xfrm>
        </p:spPr>
        <p:txBody>
          <a:bodyPr/>
          <a:lstStyle/>
          <a:p>
            <a:r>
              <a:rPr lang="en-US" sz="4000" dirty="0"/>
              <a:t>Do Certification Standards Ascertain Data Quality?</a:t>
            </a:r>
          </a:p>
        </p:txBody>
      </p:sp>
      <p:graphicFrame>
        <p:nvGraphicFramePr>
          <p:cNvPr id="5" name="Chart 4">
            <a:extLst>
              <a:ext uri="{FF2B5EF4-FFF2-40B4-BE49-F238E27FC236}">
                <a16:creationId xmlns:a16="http://schemas.microsoft.com/office/drawing/2014/main" id="{E7B2CFE4-09C1-54EC-529D-C152EE31CF5E}"/>
              </a:ext>
            </a:extLst>
          </p:cNvPr>
          <p:cNvGraphicFramePr>
            <a:graphicFrameLocks/>
          </p:cNvGraphicFramePr>
          <p:nvPr/>
        </p:nvGraphicFramePr>
        <p:xfrm>
          <a:off x="132522" y="4072359"/>
          <a:ext cx="5963478" cy="269492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Chart 9">
            <a:extLst>
              <a:ext uri="{FF2B5EF4-FFF2-40B4-BE49-F238E27FC236}">
                <a16:creationId xmlns:a16="http://schemas.microsoft.com/office/drawing/2014/main" id="{F60E2090-1E00-B6CB-4A3F-F02FBED108E5}"/>
              </a:ext>
            </a:extLst>
          </p:cNvPr>
          <p:cNvGraphicFramePr>
            <a:graphicFrameLocks/>
          </p:cNvGraphicFramePr>
          <p:nvPr/>
        </p:nvGraphicFramePr>
        <p:xfrm>
          <a:off x="6075381" y="1467349"/>
          <a:ext cx="5963479" cy="2564378"/>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Chart 10">
            <a:extLst>
              <a:ext uri="{FF2B5EF4-FFF2-40B4-BE49-F238E27FC236}">
                <a16:creationId xmlns:a16="http://schemas.microsoft.com/office/drawing/2014/main" id="{13094844-76A7-8200-E90B-9BF26188E340}"/>
              </a:ext>
            </a:extLst>
          </p:cNvPr>
          <p:cNvGraphicFramePr>
            <a:graphicFrameLocks/>
          </p:cNvGraphicFramePr>
          <p:nvPr/>
        </p:nvGraphicFramePr>
        <p:xfrm>
          <a:off x="6075380" y="4053664"/>
          <a:ext cx="5963479" cy="273231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hart 3">
            <a:extLst>
              <a:ext uri="{FF2B5EF4-FFF2-40B4-BE49-F238E27FC236}">
                <a16:creationId xmlns:a16="http://schemas.microsoft.com/office/drawing/2014/main" id="{C4D4C466-0AA5-D8FB-E487-04F469B33F83}"/>
              </a:ext>
            </a:extLst>
          </p:cNvPr>
          <p:cNvGraphicFramePr>
            <a:graphicFrameLocks/>
          </p:cNvGraphicFramePr>
          <p:nvPr/>
        </p:nvGraphicFramePr>
        <p:xfrm>
          <a:off x="132522" y="1475005"/>
          <a:ext cx="5963478" cy="2564378"/>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9831DE5B-4977-5B1A-66D0-8A234BAC3661}"/>
              </a:ext>
            </a:extLst>
          </p:cNvPr>
          <p:cNvSpPr txBox="1"/>
          <p:nvPr/>
        </p:nvSpPr>
        <p:spPr>
          <a:xfrm>
            <a:off x="1134035" y="3764582"/>
            <a:ext cx="9923929" cy="307777"/>
          </a:xfrm>
          <a:prstGeom prst="rect">
            <a:avLst/>
          </a:prstGeom>
          <a:noFill/>
          <a:ln w="28575">
            <a:solidFill>
              <a:schemeClr val="tx2"/>
            </a:solidFill>
          </a:ln>
        </p:spPr>
        <p:txBody>
          <a:bodyPr wrap="square" rtlCol="0">
            <a:spAutoFit/>
          </a:bodyPr>
          <a:lstStyle/>
          <a:p>
            <a:pPr algn="ctr"/>
            <a:r>
              <a:rPr lang="en-US" sz="1400" dirty="0">
                <a:solidFill>
                  <a:schemeClr val="tx2"/>
                </a:solidFill>
                <a:cs typeface="Kanit" panose="00000500000000000000" pitchFamily="50" charset="-34"/>
              </a:rPr>
              <a:t>NO CORRELATION BETWEEN SCHEMATRON ADHERANCE AND DATA QUALITY</a:t>
            </a:r>
          </a:p>
        </p:txBody>
      </p:sp>
    </p:spTree>
    <p:extLst>
      <p:ext uri="{BB962C8B-B14F-4D97-AF65-F5344CB8AC3E}">
        <p14:creationId xmlns:p14="http://schemas.microsoft.com/office/powerpoint/2010/main" val="2609657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C52AC7-702E-E845-E01D-B9CC4552371D}"/>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92E7320E-1781-F42D-8D64-03D8284BF132}"/>
              </a:ext>
            </a:extLst>
          </p:cNvPr>
          <p:cNvSpPr>
            <a:spLocks noGrp="1"/>
          </p:cNvSpPr>
          <p:nvPr>
            <p:ph type="title"/>
          </p:nvPr>
        </p:nvSpPr>
        <p:spPr>
          <a:xfrm>
            <a:off x="874709" y="2954862"/>
            <a:ext cx="10784928" cy="615553"/>
          </a:xfrm>
        </p:spPr>
        <p:txBody>
          <a:bodyPr/>
          <a:lstStyle/>
          <a:p>
            <a:r>
              <a:rPr lang="en-US" dirty="0"/>
              <a:t>How Well is Basic Demographic Data Captured?</a:t>
            </a:r>
          </a:p>
        </p:txBody>
      </p:sp>
    </p:spTree>
    <p:extLst>
      <p:ext uri="{BB962C8B-B14F-4D97-AF65-F5344CB8AC3E}">
        <p14:creationId xmlns:p14="http://schemas.microsoft.com/office/powerpoint/2010/main" val="30496494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Google Shape;290;p14">
            <a:extLst>
              <a:ext uri="{FF2B5EF4-FFF2-40B4-BE49-F238E27FC236}">
                <a16:creationId xmlns:a16="http://schemas.microsoft.com/office/drawing/2014/main" id="{70134AC3-E1A0-DB8E-A226-40C9A89258F6}"/>
              </a:ext>
            </a:extLst>
          </p:cNvPr>
          <p:cNvGraphicFramePr/>
          <p:nvPr>
            <p:extLst>
              <p:ext uri="{D42A27DB-BD31-4B8C-83A1-F6EECF244321}">
                <p14:modId xmlns:p14="http://schemas.microsoft.com/office/powerpoint/2010/main" val="2719029840"/>
              </p:ext>
            </p:extLst>
          </p:nvPr>
        </p:nvGraphicFramePr>
        <p:xfrm>
          <a:off x="-513678" y="663952"/>
          <a:ext cx="7133665" cy="4987958"/>
        </p:xfrm>
        <a:graphic>
          <a:graphicData uri="http://schemas.openxmlformats.org/drawingml/2006/chart">
            <c:chart xmlns:c="http://schemas.openxmlformats.org/drawingml/2006/chart" xmlns:r="http://schemas.openxmlformats.org/officeDocument/2006/relationships" r:id="rId3"/>
          </a:graphicData>
        </a:graphic>
      </p:graphicFrame>
      <p:sp>
        <p:nvSpPr>
          <p:cNvPr id="2" name="Text Placeholder 1">
            <a:extLst>
              <a:ext uri="{FF2B5EF4-FFF2-40B4-BE49-F238E27FC236}">
                <a16:creationId xmlns:a16="http://schemas.microsoft.com/office/drawing/2014/main" id="{F623AD6A-0327-A887-EF95-BBD2185D01F8}"/>
              </a:ext>
            </a:extLst>
          </p:cNvPr>
          <p:cNvSpPr>
            <a:spLocks noGrp="1"/>
          </p:cNvSpPr>
          <p:nvPr>
            <p:ph type="body" sz="quarter" idx="10"/>
          </p:nvPr>
        </p:nvSpPr>
        <p:spPr/>
        <p:txBody>
          <a:bodyPr/>
          <a:lstStyle/>
          <a:p>
            <a:r>
              <a:rPr lang="en-US" sz="1800" dirty="0"/>
              <a:t>Lab Submitter Data Quality</a:t>
            </a:r>
          </a:p>
        </p:txBody>
      </p:sp>
      <p:sp>
        <p:nvSpPr>
          <p:cNvPr id="4" name="Title 3">
            <a:extLst>
              <a:ext uri="{FF2B5EF4-FFF2-40B4-BE49-F238E27FC236}">
                <a16:creationId xmlns:a16="http://schemas.microsoft.com/office/drawing/2014/main" id="{B0B64290-CFBD-A51B-7B0A-B099A208D69F}"/>
              </a:ext>
            </a:extLst>
          </p:cNvPr>
          <p:cNvSpPr>
            <a:spLocks noGrp="1"/>
          </p:cNvSpPr>
          <p:nvPr>
            <p:ph type="title"/>
          </p:nvPr>
        </p:nvSpPr>
        <p:spPr>
          <a:xfrm>
            <a:off x="930949" y="357770"/>
            <a:ext cx="7300356" cy="1229360"/>
          </a:xfrm>
        </p:spPr>
        <p:txBody>
          <a:bodyPr/>
          <a:lstStyle/>
          <a:p>
            <a:r>
              <a:rPr lang="en-US" sz="4000" dirty="0"/>
              <a:t>State of California Experience (128 Million Lab Reports)</a:t>
            </a:r>
          </a:p>
        </p:txBody>
      </p:sp>
      <p:sp>
        <p:nvSpPr>
          <p:cNvPr id="7" name="Google Shape;297;p14">
            <a:extLst>
              <a:ext uri="{FF2B5EF4-FFF2-40B4-BE49-F238E27FC236}">
                <a16:creationId xmlns:a16="http://schemas.microsoft.com/office/drawing/2014/main" id="{A17B0009-B7B6-94C6-7307-D31F722A8CA4}"/>
              </a:ext>
            </a:extLst>
          </p:cNvPr>
          <p:cNvSpPr txBox="1"/>
          <p:nvPr/>
        </p:nvSpPr>
        <p:spPr>
          <a:xfrm>
            <a:off x="977463" y="5213741"/>
            <a:ext cx="3543299" cy="1395280"/>
          </a:xfrm>
          <a:prstGeom prst="rect">
            <a:avLst/>
          </a:prstGeom>
          <a:noFill/>
          <a:ln>
            <a:noFill/>
          </a:ln>
        </p:spPr>
        <p:txBody>
          <a:bodyPr spcFirstLastPara="1" wrap="square" lIns="91425" tIns="45700" rIns="91425" bIns="45700" anchor="t" anchorCtr="0">
            <a:noAutofit/>
          </a:bodyPr>
          <a:lstStyle/>
          <a:p>
            <a:pPr marL="228600" marR="0" lvl="0" indent="-228600" algn="l" rtl="0">
              <a:lnSpc>
                <a:spcPct val="90000"/>
              </a:lnSpc>
              <a:spcBef>
                <a:spcPts val="0"/>
              </a:spcBef>
              <a:spcAft>
                <a:spcPts val="0"/>
              </a:spcAft>
              <a:buClr>
                <a:srgbClr val="FF671F"/>
              </a:buClr>
              <a:buSzPts val="1800"/>
              <a:buFont typeface="Arial"/>
              <a:buChar char="•"/>
            </a:pPr>
            <a:r>
              <a:rPr lang="en-US" sz="1800" b="0" i="0" u="none" strike="noStrike" cap="none" dirty="0">
                <a:solidFill>
                  <a:schemeClr val="bg2"/>
                </a:solidFill>
                <a:ea typeface="Arial"/>
                <a:cs typeface="Arial"/>
                <a:sym typeface="Arial"/>
              </a:rPr>
              <a:t>Patient Count: 998,595</a:t>
            </a:r>
            <a:endParaRPr dirty="0">
              <a:solidFill>
                <a:schemeClr val="bg2"/>
              </a:solidFill>
            </a:endParaRPr>
          </a:p>
          <a:p>
            <a:pPr marL="228600" marR="0" lvl="0" indent="-228600" algn="l" rtl="0">
              <a:lnSpc>
                <a:spcPct val="90000"/>
              </a:lnSpc>
              <a:spcBef>
                <a:spcPts val="1000"/>
              </a:spcBef>
              <a:spcAft>
                <a:spcPts val="0"/>
              </a:spcAft>
              <a:buClr>
                <a:srgbClr val="FF671F"/>
              </a:buClr>
              <a:buSzPts val="1800"/>
              <a:buFont typeface="Arial"/>
              <a:buChar char="•"/>
            </a:pPr>
            <a:r>
              <a:rPr lang="en-US" sz="1800" b="0" i="0" u="none" strike="noStrike" cap="none" dirty="0">
                <a:solidFill>
                  <a:schemeClr val="bg2"/>
                </a:solidFill>
                <a:ea typeface="Arial"/>
                <a:cs typeface="Arial"/>
                <a:sym typeface="Arial"/>
              </a:rPr>
              <a:t>37.0% Hispanic or Latino</a:t>
            </a:r>
            <a:endParaRPr dirty="0">
              <a:solidFill>
                <a:schemeClr val="bg2"/>
              </a:solidFill>
            </a:endParaRPr>
          </a:p>
          <a:p>
            <a:pPr marL="228600" marR="0" lvl="0" indent="-228600" algn="l" rtl="0">
              <a:lnSpc>
                <a:spcPct val="90000"/>
              </a:lnSpc>
              <a:spcBef>
                <a:spcPts val="1000"/>
              </a:spcBef>
              <a:spcAft>
                <a:spcPts val="0"/>
              </a:spcAft>
              <a:buClr>
                <a:srgbClr val="FF671F"/>
              </a:buClr>
              <a:buSzPts val="1800"/>
              <a:buFont typeface="Arial"/>
              <a:buChar char="•"/>
            </a:pPr>
            <a:r>
              <a:rPr lang="en-US" sz="1800" b="0" i="0" u="none" strike="noStrike" cap="none" dirty="0">
                <a:solidFill>
                  <a:schemeClr val="bg2"/>
                </a:solidFill>
                <a:ea typeface="Arial"/>
                <a:cs typeface="Arial"/>
                <a:sym typeface="Arial"/>
              </a:rPr>
              <a:t>53.9% Female</a:t>
            </a:r>
            <a:endParaRPr dirty="0">
              <a:solidFill>
                <a:schemeClr val="bg2"/>
              </a:solidFill>
            </a:endParaRPr>
          </a:p>
          <a:p>
            <a:pPr marL="685800" marR="0" lvl="1" indent="-114300" algn="l" rtl="0">
              <a:lnSpc>
                <a:spcPct val="90000"/>
              </a:lnSpc>
              <a:spcBef>
                <a:spcPts val="500"/>
              </a:spcBef>
              <a:spcAft>
                <a:spcPts val="0"/>
              </a:spcAft>
              <a:buClr>
                <a:schemeClr val="dk1"/>
              </a:buClr>
              <a:buSzPts val="1800"/>
              <a:buFont typeface="Arial"/>
              <a:buNone/>
            </a:pPr>
            <a:endParaRPr sz="1800" b="0" i="0" u="none" strike="noStrike" cap="none" dirty="0">
              <a:solidFill>
                <a:srgbClr val="22437B"/>
              </a:solidFill>
              <a:latin typeface="Kanit Light"/>
              <a:ea typeface="Kanit Light"/>
              <a:cs typeface="Kanit Light"/>
              <a:sym typeface="Kanit Light"/>
            </a:endParaRPr>
          </a:p>
        </p:txBody>
      </p:sp>
      <p:sp>
        <p:nvSpPr>
          <p:cNvPr id="8" name="Google Shape;298;p14">
            <a:extLst>
              <a:ext uri="{FF2B5EF4-FFF2-40B4-BE49-F238E27FC236}">
                <a16:creationId xmlns:a16="http://schemas.microsoft.com/office/drawing/2014/main" id="{E02FE55E-12B1-F08B-5A48-DCD5CF483BF5}"/>
              </a:ext>
            </a:extLst>
          </p:cNvPr>
          <p:cNvSpPr txBox="1"/>
          <p:nvPr/>
        </p:nvSpPr>
        <p:spPr>
          <a:xfrm>
            <a:off x="4688005" y="5210049"/>
            <a:ext cx="3543300" cy="1249657"/>
          </a:xfrm>
          <a:prstGeom prst="rect">
            <a:avLst/>
          </a:prstGeom>
          <a:noFill/>
          <a:ln>
            <a:noFill/>
          </a:ln>
        </p:spPr>
        <p:txBody>
          <a:bodyPr spcFirstLastPara="1" wrap="square" lIns="91425" tIns="45700" rIns="91425" bIns="45700" anchor="t" anchorCtr="0">
            <a:noAutofit/>
          </a:bodyPr>
          <a:lstStyle/>
          <a:p>
            <a:pPr marL="285750" marR="0" lvl="0" indent="-285750" algn="l" rtl="0">
              <a:lnSpc>
                <a:spcPct val="90000"/>
              </a:lnSpc>
              <a:spcBef>
                <a:spcPts val="0"/>
              </a:spcBef>
              <a:spcAft>
                <a:spcPts val="0"/>
              </a:spcAft>
              <a:buClr>
                <a:srgbClr val="FF671F"/>
              </a:buClr>
              <a:buSzPts val="1800"/>
              <a:buFont typeface="Arial" panose="020B0604020202020204" pitchFamily="34" charset="0"/>
              <a:buChar char="•"/>
            </a:pPr>
            <a:r>
              <a:rPr lang="en-US" sz="1800" b="0" i="0" u="none" strike="noStrike" cap="none" dirty="0">
                <a:solidFill>
                  <a:schemeClr val="bg2"/>
                </a:solidFill>
                <a:ea typeface="Arial"/>
                <a:cs typeface="Arial"/>
                <a:sym typeface="Arial"/>
              </a:rPr>
              <a:t>Age (mean = 39.875 years)</a:t>
            </a:r>
            <a:endParaRPr dirty="0">
              <a:solidFill>
                <a:schemeClr val="bg2"/>
              </a:solidFill>
            </a:endParaRPr>
          </a:p>
          <a:p>
            <a:pPr marL="742950" marR="0" lvl="1" indent="-285750" algn="l" rtl="0">
              <a:lnSpc>
                <a:spcPct val="90000"/>
              </a:lnSpc>
              <a:spcBef>
                <a:spcPts val="500"/>
              </a:spcBef>
              <a:spcAft>
                <a:spcPts val="0"/>
              </a:spcAft>
              <a:buClr>
                <a:srgbClr val="FF671F"/>
              </a:buClr>
              <a:buSzPts val="1600"/>
              <a:buFont typeface="Arial" panose="020B0604020202020204" pitchFamily="34" charset="0"/>
              <a:buChar char="•"/>
            </a:pPr>
            <a:r>
              <a:rPr lang="en-US" sz="1600" b="0" i="0" u="none" strike="noStrike" cap="none" dirty="0">
                <a:solidFill>
                  <a:schemeClr val="bg2"/>
                </a:solidFill>
                <a:ea typeface="Arial"/>
                <a:cs typeface="Arial"/>
                <a:sym typeface="Arial"/>
              </a:rPr>
              <a:t>Under 18: 18.25%</a:t>
            </a:r>
            <a:endParaRPr dirty="0">
              <a:solidFill>
                <a:schemeClr val="bg2"/>
              </a:solidFill>
            </a:endParaRPr>
          </a:p>
          <a:p>
            <a:pPr marL="742950" marR="0" lvl="1" indent="-285750" algn="l" rtl="0">
              <a:lnSpc>
                <a:spcPct val="90000"/>
              </a:lnSpc>
              <a:spcBef>
                <a:spcPts val="500"/>
              </a:spcBef>
              <a:spcAft>
                <a:spcPts val="0"/>
              </a:spcAft>
              <a:buClr>
                <a:srgbClr val="FF671F"/>
              </a:buClr>
              <a:buSzPts val="1600"/>
              <a:buFont typeface="Arial" panose="020B0604020202020204" pitchFamily="34" charset="0"/>
              <a:buChar char="•"/>
            </a:pPr>
            <a:r>
              <a:rPr lang="en-US" sz="1600" b="0" i="0" u="none" strike="noStrike" cap="none" dirty="0">
                <a:solidFill>
                  <a:schemeClr val="bg2"/>
                </a:solidFill>
                <a:ea typeface="Arial"/>
                <a:cs typeface="Arial"/>
                <a:sym typeface="Arial"/>
              </a:rPr>
              <a:t>18-64: 66.83%</a:t>
            </a:r>
            <a:endParaRPr dirty="0">
              <a:solidFill>
                <a:schemeClr val="bg2"/>
              </a:solidFill>
            </a:endParaRPr>
          </a:p>
          <a:p>
            <a:pPr marL="742950" marR="0" lvl="1" indent="-285750" algn="l" rtl="0">
              <a:lnSpc>
                <a:spcPct val="90000"/>
              </a:lnSpc>
              <a:spcBef>
                <a:spcPts val="500"/>
              </a:spcBef>
              <a:spcAft>
                <a:spcPts val="0"/>
              </a:spcAft>
              <a:buClr>
                <a:srgbClr val="FF671F"/>
              </a:buClr>
              <a:buSzPts val="1600"/>
              <a:buFont typeface="Arial" panose="020B0604020202020204" pitchFamily="34" charset="0"/>
              <a:buChar char="•"/>
            </a:pPr>
            <a:r>
              <a:rPr lang="en-US" sz="1600" b="0" i="0" u="none" strike="noStrike" cap="none" dirty="0">
                <a:solidFill>
                  <a:schemeClr val="bg2"/>
                </a:solidFill>
                <a:ea typeface="Arial"/>
                <a:cs typeface="Arial"/>
                <a:sym typeface="Arial"/>
              </a:rPr>
              <a:t>65 and over: 15.40%</a:t>
            </a:r>
            <a:endParaRPr dirty="0">
              <a:solidFill>
                <a:schemeClr val="bg2"/>
              </a:solidFill>
            </a:endParaRPr>
          </a:p>
        </p:txBody>
      </p:sp>
      <p:cxnSp>
        <p:nvCxnSpPr>
          <p:cNvPr id="9" name="Google Shape;301;p14">
            <a:extLst>
              <a:ext uri="{FF2B5EF4-FFF2-40B4-BE49-F238E27FC236}">
                <a16:creationId xmlns:a16="http://schemas.microsoft.com/office/drawing/2014/main" id="{CC4BD9D4-B3D2-0C13-7A08-248BA3CF2BD4}"/>
              </a:ext>
            </a:extLst>
          </p:cNvPr>
          <p:cNvCxnSpPr/>
          <p:nvPr/>
        </p:nvCxnSpPr>
        <p:spPr>
          <a:xfrm>
            <a:off x="4306957" y="5210049"/>
            <a:ext cx="0" cy="1146301"/>
          </a:xfrm>
          <a:prstGeom prst="straightConnector1">
            <a:avLst/>
          </a:prstGeom>
          <a:noFill/>
          <a:ln w="9525" cap="flat" cmpd="sng">
            <a:solidFill>
              <a:schemeClr val="accent2"/>
            </a:solidFill>
            <a:prstDash val="solid"/>
            <a:round/>
            <a:headEnd type="none" w="sm" len="sm"/>
            <a:tailEnd type="none" w="sm" len="sm"/>
          </a:ln>
        </p:spPr>
      </p:cxnSp>
      <p:graphicFrame>
        <p:nvGraphicFramePr>
          <p:cNvPr id="10" name="Google Shape;302;p14">
            <a:extLst>
              <a:ext uri="{FF2B5EF4-FFF2-40B4-BE49-F238E27FC236}">
                <a16:creationId xmlns:a16="http://schemas.microsoft.com/office/drawing/2014/main" id="{C728A65E-4EA5-ED21-54C0-02E732E1343E}"/>
              </a:ext>
            </a:extLst>
          </p:cNvPr>
          <p:cNvGraphicFramePr/>
          <p:nvPr>
            <p:extLst>
              <p:ext uri="{D42A27DB-BD31-4B8C-83A1-F6EECF244321}">
                <p14:modId xmlns:p14="http://schemas.microsoft.com/office/powerpoint/2010/main" val="2259490221"/>
              </p:ext>
            </p:extLst>
          </p:nvPr>
        </p:nvGraphicFramePr>
        <p:xfrm>
          <a:off x="5580517" y="592893"/>
          <a:ext cx="7133665" cy="4987958"/>
        </p:xfrm>
        <a:graphic>
          <a:graphicData uri="http://schemas.openxmlformats.org/drawingml/2006/chart">
            <c:chart xmlns:c="http://schemas.openxmlformats.org/drawingml/2006/chart" xmlns:r="http://schemas.openxmlformats.org/officeDocument/2006/relationships" r:id="rId4"/>
          </a:graphicData>
        </a:graphic>
      </p:graphicFrame>
      <p:sp>
        <p:nvSpPr>
          <p:cNvPr id="11" name="Google Shape;296;p14">
            <a:extLst>
              <a:ext uri="{FF2B5EF4-FFF2-40B4-BE49-F238E27FC236}">
                <a16:creationId xmlns:a16="http://schemas.microsoft.com/office/drawing/2014/main" id="{55DB20F9-ADB4-65D6-18AD-1044161D2944}"/>
              </a:ext>
            </a:extLst>
          </p:cNvPr>
          <p:cNvSpPr txBox="1"/>
          <p:nvPr/>
        </p:nvSpPr>
        <p:spPr>
          <a:xfrm>
            <a:off x="1615660" y="2682941"/>
            <a:ext cx="1540228" cy="1077218"/>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4A4C4F"/>
              </a:buClr>
              <a:buSzPts val="3600"/>
              <a:buFont typeface="Verdana"/>
              <a:buNone/>
            </a:pPr>
            <a:r>
              <a:rPr lang="en-US" sz="3600" b="1" i="0" u="none" strike="noStrike" cap="none" dirty="0">
                <a:solidFill>
                  <a:schemeClr val="bg2"/>
                </a:solidFill>
                <a:ea typeface="Verdana"/>
                <a:cs typeface="Verdana"/>
                <a:sym typeface="Verdana"/>
              </a:rPr>
              <a:t>RACE </a:t>
            </a:r>
            <a:r>
              <a:rPr lang="en-US" sz="1400" b="1" i="0" u="none" strike="noStrike" cap="none" dirty="0">
                <a:solidFill>
                  <a:schemeClr val="bg2"/>
                </a:solidFill>
                <a:ea typeface="Verdana"/>
                <a:cs typeface="Verdana"/>
                <a:sym typeface="Verdana"/>
              </a:rPr>
              <a:t>in Lab Submissions</a:t>
            </a:r>
            <a:endParaRPr sz="3600" b="1" i="0" u="none" strike="noStrike" cap="none" dirty="0">
              <a:solidFill>
                <a:schemeClr val="bg2"/>
              </a:solidFill>
              <a:ea typeface="Verdana"/>
              <a:cs typeface="Verdana"/>
              <a:sym typeface="Verdana"/>
            </a:endParaRPr>
          </a:p>
        </p:txBody>
      </p:sp>
      <p:sp>
        <p:nvSpPr>
          <p:cNvPr id="12" name="Google Shape;303;p14">
            <a:extLst>
              <a:ext uri="{FF2B5EF4-FFF2-40B4-BE49-F238E27FC236}">
                <a16:creationId xmlns:a16="http://schemas.microsoft.com/office/drawing/2014/main" id="{C6D9BC14-10AA-2557-D4DB-0F93A1C3E958}"/>
              </a:ext>
            </a:extLst>
          </p:cNvPr>
          <p:cNvSpPr txBox="1"/>
          <p:nvPr/>
        </p:nvSpPr>
        <p:spPr>
          <a:xfrm>
            <a:off x="7676272" y="2619342"/>
            <a:ext cx="1540228" cy="1077178"/>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4A4C4F"/>
              </a:buClr>
              <a:buSzPts val="3600"/>
              <a:buFont typeface="Verdana"/>
              <a:buNone/>
            </a:pPr>
            <a:r>
              <a:rPr lang="en-US" sz="3600" b="1" i="0" u="none" strike="noStrike" cap="none" dirty="0">
                <a:solidFill>
                  <a:schemeClr val="bg2"/>
                </a:solidFill>
                <a:ea typeface="Verdana"/>
                <a:cs typeface="Verdana"/>
                <a:sym typeface="Verdana"/>
              </a:rPr>
              <a:t>RACE </a:t>
            </a:r>
            <a:r>
              <a:rPr lang="en-US" sz="1400" b="1" i="0" u="none" strike="noStrike" cap="none" dirty="0">
                <a:solidFill>
                  <a:schemeClr val="bg2"/>
                </a:solidFill>
                <a:ea typeface="Verdana"/>
                <a:cs typeface="Verdana"/>
                <a:sym typeface="Verdana"/>
              </a:rPr>
              <a:t>based on 2020 Census Data</a:t>
            </a:r>
            <a:endParaRPr sz="3600" b="1" i="0" u="none" strike="noStrike" cap="none" dirty="0">
              <a:solidFill>
                <a:schemeClr val="bg2"/>
              </a:solidFill>
              <a:ea typeface="Verdana"/>
              <a:cs typeface="Verdana"/>
              <a:sym typeface="Verdana"/>
            </a:endParaRPr>
          </a:p>
        </p:txBody>
      </p:sp>
      <p:grpSp>
        <p:nvGrpSpPr>
          <p:cNvPr id="13" name="Group 12">
            <a:extLst>
              <a:ext uri="{FF2B5EF4-FFF2-40B4-BE49-F238E27FC236}">
                <a16:creationId xmlns:a16="http://schemas.microsoft.com/office/drawing/2014/main" id="{A39A4F5F-8F33-AE7E-CF19-2269F23FDDBB}"/>
              </a:ext>
            </a:extLst>
          </p:cNvPr>
          <p:cNvGrpSpPr/>
          <p:nvPr/>
        </p:nvGrpSpPr>
        <p:grpSpPr>
          <a:xfrm>
            <a:off x="9123817" y="397419"/>
            <a:ext cx="643593" cy="653378"/>
            <a:chOff x="8709856" y="1797051"/>
            <a:chExt cx="2373138" cy="2373136"/>
          </a:xfrm>
        </p:grpSpPr>
        <p:grpSp>
          <p:nvGrpSpPr>
            <p:cNvPr id="14" name="Group 13">
              <a:extLst>
                <a:ext uri="{FF2B5EF4-FFF2-40B4-BE49-F238E27FC236}">
                  <a16:creationId xmlns:a16="http://schemas.microsoft.com/office/drawing/2014/main" id="{79578AA3-49D6-1A07-BED0-BC5F227FF737}"/>
                </a:ext>
              </a:extLst>
            </p:cNvPr>
            <p:cNvGrpSpPr/>
            <p:nvPr/>
          </p:nvGrpSpPr>
          <p:grpSpPr>
            <a:xfrm>
              <a:off x="8709856" y="1797051"/>
              <a:ext cx="2373138" cy="2373136"/>
              <a:chOff x="6876212" y="987055"/>
              <a:chExt cx="2373138" cy="2373136"/>
            </a:xfrm>
            <a:effectLst>
              <a:glow>
                <a:sysClr val="window" lastClr="FFFFFF">
                  <a:alpha val="42000"/>
                </a:sysClr>
              </a:glow>
            </a:effectLst>
          </p:grpSpPr>
          <p:sp>
            <p:nvSpPr>
              <p:cNvPr id="16" name="Oval 15">
                <a:extLst>
                  <a:ext uri="{FF2B5EF4-FFF2-40B4-BE49-F238E27FC236}">
                    <a16:creationId xmlns:a16="http://schemas.microsoft.com/office/drawing/2014/main" id="{EC009428-8369-129F-5545-C58C65D0C8F1}"/>
                  </a:ext>
                </a:extLst>
              </p:cNvPr>
              <p:cNvSpPr/>
              <p:nvPr/>
            </p:nvSpPr>
            <p:spPr>
              <a:xfrm>
                <a:off x="6876212" y="987055"/>
                <a:ext cx="2373138" cy="2373136"/>
              </a:xfrm>
              <a:prstGeom prst="ellipse">
                <a:avLst/>
              </a:prstGeom>
              <a:solidFill>
                <a:sysClr val="window" lastClr="FFFFFF"/>
              </a:solidFill>
              <a:ln w="76200" cap="flat" cmpd="sng" algn="ctr">
                <a:gradFill>
                  <a:gsLst>
                    <a:gs pos="0">
                      <a:srgbClr val="FF671F"/>
                    </a:gs>
                    <a:gs pos="100000">
                      <a:srgbClr val="FED111"/>
                    </a:gs>
                  </a:gsLst>
                  <a:lin ang="5400000" scaled="1"/>
                </a:gradFill>
                <a:prstDash val="solid"/>
              </a:ln>
              <a:effectLst>
                <a:glow rad="228600">
                  <a:sysClr val="window" lastClr="FFFFFF">
                    <a:alpha val="20847"/>
                  </a:sysClr>
                </a:glo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17" name="Oval 16">
                <a:extLst>
                  <a:ext uri="{FF2B5EF4-FFF2-40B4-BE49-F238E27FC236}">
                    <a16:creationId xmlns:a16="http://schemas.microsoft.com/office/drawing/2014/main" id="{BF825A76-89FC-535A-130F-6E5228F2FBC8}"/>
                  </a:ext>
                </a:extLst>
              </p:cNvPr>
              <p:cNvSpPr/>
              <p:nvPr/>
            </p:nvSpPr>
            <p:spPr>
              <a:xfrm>
                <a:off x="7165930" y="1276771"/>
                <a:ext cx="1793703" cy="1793703"/>
              </a:xfrm>
              <a:prstGeom prst="ellipse">
                <a:avLst/>
              </a:prstGeom>
              <a:gradFill>
                <a:gsLst>
                  <a:gs pos="36000">
                    <a:srgbClr val="FF671F"/>
                  </a:gs>
                  <a:gs pos="100000">
                    <a:srgbClr val="FED111"/>
                  </a:gs>
                </a:gsLst>
                <a:lin ang="5400000" scaled="1"/>
              </a:gradFill>
              <a:ln w="63500" cap="flat" cmpd="sng" algn="ctr">
                <a:solidFill>
                  <a:sysClr val="window" lastClr="FFFFFF"/>
                </a:solidFill>
                <a:prstDash val="solid"/>
              </a:ln>
              <a:effectLst>
                <a:outerShdw blurRad="63500" sx="102000" sy="102000" algn="ctr"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a:ea typeface="+mn-ea"/>
                  <a:cs typeface="+mn-cs"/>
                </a:endParaRPr>
              </a:p>
            </p:txBody>
          </p:sp>
        </p:grpSp>
        <p:pic>
          <p:nvPicPr>
            <p:cNvPr id="15" name="Picture 14" descr="A picture containing text, clipart&#10;&#10;Description automatically generated">
              <a:extLst>
                <a:ext uri="{FF2B5EF4-FFF2-40B4-BE49-F238E27FC236}">
                  <a16:creationId xmlns:a16="http://schemas.microsoft.com/office/drawing/2014/main" id="{4B202808-0E4E-62B9-6C5F-C6420E24EF53}"/>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9293742" y="2341838"/>
              <a:ext cx="1163519" cy="1283563"/>
            </a:xfrm>
            <a:prstGeom prst="rect">
              <a:avLst/>
            </a:prstGeom>
          </p:spPr>
        </p:pic>
      </p:grpSp>
      <p:sp>
        <p:nvSpPr>
          <p:cNvPr id="18" name="TextBox 17">
            <a:extLst>
              <a:ext uri="{FF2B5EF4-FFF2-40B4-BE49-F238E27FC236}">
                <a16:creationId xmlns:a16="http://schemas.microsoft.com/office/drawing/2014/main" id="{4156BE75-9B97-2D3E-67D2-83C22B717FAA}"/>
              </a:ext>
            </a:extLst>
          </p:cNvPr>
          <p:cNvSpPr txBox="1"/>
          <p:nvPr/>
        </p:nvSpPr>
        <p:spPr>
          <a:xfrm>
            <a:off x="8353111" y="36463"/>
            <a:ext cx="2489200"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accent4"/>
                </a:solidFill>
                <a:effectLst/>
                <a:uLnTx/>
                <a:uFillTx/>
                <a:latin typeface="Inter"/>
                <a:ea typeface="+mn-ea"/>
                <a:cs typeface="+mn-cs"/>
              </a:rPr>
              <a:t>Courtesy Availity Clinical Solutions</a:t>
            </a:r>
          </a:p>
        </p:txBody>
      </p:sp>
    </p:spTree>
    <p:extLst>
      <p:ext uri="{BB962C8B-B14F-4D97-AF65-F5344CB8AC3E}">
        <p14:creationId xmlns:p14="http://schemas.microsoft.com/office/powerpoint/2010/main" val="35552866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ED6D02-C900-D0E0-8E0D-7AED54282531}"/>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DE4B9D28-DE13-68DE-DD1D-196182915315}"/>
              </a:ext>
            </a:extLst>
          </p:cNvPr>
          <p:cNvSpPr>
            <a:spLocks noGrp="1"/>
          </p:cNvSpPr>
          <p:nvPr>
            <p:ph type="body" sz="quarter" idx="10"/>
          </p:nvPr>
        </p:nvSpPr>
        <p:spPr/>
        <p:txBody>
          <a:bodyPr/>
          <a:lstStyle/>
          <a:p>
            <a:r>
              <a:rPr lang="en-US" sz="1800" dirty="0"/>
              <a:t>Data Observations</a:t>
            </a:r>
          </a:p>
        </p:txBody>
      </p:sp>
      <p:sp>
        <p:nvSpPr>
          <p:cNvPr id="6" name="Title 5">
            <a:extLst>
              <a:ext uri="{FF2B5EF4-FFF2-40B4-BE49-F238E27FC236}">
                <a16:creationId xmlns:a16="http://schemas.microsoft.com/office/drawing/2014/main" id="{E4F2C518-4850-EC27-EEFD-F05FCEA53B87}"/>
              </a:ext>
            </a:extLst>
          </p:cNvPr>
          <p:cNvSpPr>
            <a:spLocks noGrp="1"/>
          </p:cNvSpPr>
          <p:nvPr>
            <p:ph type="title"/>
          </p:nvPr>
        </p:nvSpPr>
        <p:spPr>
          <a:xfrm>
            <a:off x="367145" y="83448"/>
            <a:ext cx="11010898" cy="1229360"/>
          </a:xfrm>
        </p:spPr>
        <p:txBody>
          <a:bodyPr/>
          <a:lstStyle/>
          <a:p>
            <a:r>
              <a:rPr lang="en-US" sz="4000" dirty="0"/>
              <a:t>An Overview of this Analysis</a:t>
            </a:r>
          </a:p>
        </p:txBody>
      </p:sp>
      <p:sp>
        <p:nvSpPr>
          <p:cNvPr id="14" name="TextBox 13">
            <a:extLst>
              <a:ext uri="{FF2B5EF4-FFF2-40B4-BE49-F238E27FC236}">
                <a16:creationId xmlns:a16="http://schemas.microsoft.com/office/drawing/2014/main" id="{C04A1509-EB57-8D79-9400-722FC3E239F7}"/>
              </a:ext>
            </a:extLst>
          </p:cNvPr>
          <p:cNvSpPr txBox="1"/>
          <p:nvPr/>
        </p:nvSpPr>
        <p:spPr>
          <a:xfrm>
            <a:off x="367145" y="1170536"/>
            <a:ext cx="10515600" cy="369332"/>
          </a:xfrm>
          <a:prstGeom prst="rect">
            <a:avLst/>
          </a:prstGeom>
          <a:noFill/>
        </p:spPr>
        <p:txBody>
          <a:bodyPr wrap="square">
            <a:spAutoFit/>
          </a:bodyPr>
          <a:lstStyle/>
          <a:p>
            <a:r>
              <a:rPr lang="en-US" sz="1800" dirty="0">
                <a:solidFill>
                  <a:schemeClr val="bg2"/>
                </a:solidFill>
                <a:latin typeface="+mj-lt"/>
              </a:rPr>
              <a:t>Data Counts By Race</a:t>
            </a:r>
            <a:endParaRPr lang="en-US" dirty="0">
              <a:solidFill>
                <a:schemeClr val="bg2"/>
              </a:solidFill>
              <a:latin typeface="+mj-lt"/>
            </a:endParaRPr>
          </a:p>
        </p:txBody>
      </p:sp>
      <p:graphicFrame>
        <p:nvGraphicFramePr>
          <p:cNvPr id="5" name="Chart 4">
            <a:extLst>
              <a:ext uri="{FF2B5EF4-FFF2-40B4-BE49-F238E27FC236}">
                <a16:creationId xmlns:a16="http://schemas.microsoft.com/office/drawing/2014/main" id="{B44CD0E8-E494-BF49-42B5-543B8F68AA63}"/>
              </a:ext>
            </a:extLst>
          </p:cNvPr>
          <p:cNvGraphicFramePr>
            <a:graphicFrameLocks/>
          </p:cNvGraphicFramePr>
          <p:nvPr>
            <p:extLst>
              <p:ext uri="{D42A27DB-BD31-4B8C-83A1-F6EECF244321}">
                <p14:modId xmlns:p14="http://schemas.microsoft.com/office/powerpoint/2010/main" val="1211916081"/>
              </p:ext>
            </p:extLst>
          </p:nvPr>
        </p:nvGraphicFramePr>
        <p:xfrm>
          <a:off x="222195" y="1867192"/>
          <a:ext cx="7582861" cy="4773094"/>
        </p:xfrm>
        <a:graphic>
          <a:graphicData uri="http://schemas.openxmlformats.org/drawingml/2006/chart">
            <c:chart xmlns:c="http://schemas.openxmlformats.org/drawingml/2006/chart" xmlns:r="http://schemas.openxmlformats.org/officeDocument/2006/relationships" r:id="rId3"/>
          </a:graphicData>
        </a:graphic>
      </p:graphicFrame>
      <p:pic>
        <p:nvPicPr>
          <p:cNvPr id="7" name="Picture 6">
            <a:extLst>
              <a:ext uri="{FF2B5EF4-FFF2-40B4-BE49-F238E27FC236}">
                <a16:creationId xmlns:a16="http://schemas.microsoft.com/office/drawing/2014/main" id="{1F832436-311D-FF0F-C63B-456EB7D03FE6}"/>
              </a:ext>
            </a:extLst>
          </p:cNvPr>
          <p:cNvPicPr>
            <a:picLocks noChangeAspect="1"/>
          </p:cNvPicPr>
          <p:nvPr/>
        </p:nvPicPr>
        <p:blipFill>
          <a:blip r:embed="rId4"/>
          <a:stretch>
            <a:fillRect/>
          </a:stretch>
        </p:blipFill>
        <p:spPr>
          <a:xfrm>
            <a:off x="6622231" y="1550971"/>
            <a:ext cx="5010150" cy="2676525"/>
          </a:xfrm>
          <a:prstGeom prst="rect">
            <a:avLst/>
          </a:prstGeom>
        </p:spPr>
      </p:pic>
    </p:spTree>
    <p:extLst>
      <p:ext uri="{BB962C8B-B14F-4D97-AF65-F5344CB8AC3E}">
        <p14:creationId xmlns:p14="http://schemas.microsoft.com/office/powerpoint/2010/main" val="976383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2AF9CB-11AF-3327-E7FD-1084516B829D}"/>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A58C781E-8B28-B4C6-E941-DBECA41B10AA}"/>
              </a:ext>
            </a:extLst>
          </p:cNvPr>
          <p:cNvSpPr>
            <a:spLocks noGrp="1"/>
          </p:cNvSpPr>
          <p:nvPr>
            <p:ph type="body" sz="quarter" idx="10"/>
          </p:nvPr>
        </p:nvSpPr>
        <p:spPr/>
        <p:txBody>
          <a:bodyPr/>
          <a:lstStyle/>
          <a:p>
            <a:r>
              <a:rPr lang="en-US" sz="1800" dirty="0"/>
              <a:t>Data Observations</a:t>
            </a:r>
          </a:p>
        </p:txBody>
      </p:sp>
      <p:sp>
        <p:nvSpPr>
          <p:cNvPr id="6" name="Title 5">
            <a:extLst>
              <a:ext uri="{FF2B5EF4-FFF2-40B4-BE49-F238E27FC236}">
                <a16:creationId xmlns:a16="http://schemas.microsoft.com/office/drawing/2014/main" id="{BBF29A43-EF61-4BB6-3EC4-5EB81213BB35}"/>
              </a:ext>
            </a:extLst>
          </p:cNvPr>
          <p:cNvSpPr>
            <a:spLocks noGrp="1"/>
          </p:cNvSpPr>
          <p:nvPr>
            <p:ph type="title"/>
          </p:nvPr>
        </p:nvSpPr>
        <p:spPr>
          <a:xfrm>
            <a:off x="367145" y="83448"/>
            <a:ext cx="11010898" cy="1229360"/>
          </a:xfrm>
        </p:spPr>
        <p:txBody>
          <a:bodyPr/>
          <a:lstStyle/>
          <a:p>
            <a:r>
              <a:rPr lang="en-US" sz="4000" dirty="0"/>
              <a:t>An Overview of this Analysis</a:t>
            </a:r>
          </a:p>
        </p:txBody>
      </p:sp>
      <p:sp>
        <p:nvSpPr>
          <p:cNvPr id="14" name="TextBox 13">
            <a:extLst>
              <a:ext uri="{FF2B5EF4-FFF2-40B4-BE49-F238E27FC236}">
                <a16:creationId xmlns:a16="http://schemas.microsoft.com/office/drawing/2014/main" id="{EA03396D-18B8-23B1-BEF4-BDBFB30AAE14}"/>
              </a:ext>
            </a:extLst>
          </p:cNvPr>
          <p:cNvSpPr txBox="1"/>
          <p:nvPr/>
        </p:nvSpPr>
        <p:spPr>
          <a:xfrm>
            <a:off x="367145" y="1170536"/>
            <a:ext cx="10515600" cy="369332"/>
          </a:xfrm>
          <a:prstGeom prst="rect">
            <a:avLst/>
          </a:prstGeom>
          <a:noFill/>
        </p:spPr>
        <p:txBody>
          <a:bodyPr wrap="square">
            <a:spAutoFit/>
          </a:bodyPr>
          <a:lstStyle/>
          <a:p>
            <a:r>
              <a:rPr lang="en-US" sz="1800" dirty="0">
                <a:solidFill>
                  <a:schemeClr val="bg2"/>
                </a:solidFill>
                <a:latin typeface="+mj-lt"/>
              </a:rPr>
              <a:t>Data Counts By Ethnicity</a:t>
            </a:r>
            <a:endParaRPr lang="en-US" dirty="0">
              <a:solidFill>
                <a:schemeClr val="bg2"/>
              </a:solidFill>
              <a:latin typeface="+mj-lt"/>
            </a:endParaRPr>
          </a:p>
        </p:txBody>
      </p:sp>
      <p:pic>
        <p:nvPicPr>
          <p:cNvPr id="3" name="Picture 2">
            <a:extLst>
              <a:ext uri="{FF2B5EF4-FFF2-40B4-BE49-F238E27FC236}">
                <a16:creationId xmlns:a16="http://schemas.microsoft.com/office/drawing/2014/main" id="{EFCC7F10-F7A8-4370-36CF-52887DE439A3}"/>
              </a:ext>
            </a:extLst>
          </p:cNvPr>
          <p:cNvPicPr>
            <a:picLocks noChangeAspect="1"/>
          </p:cNvPicPr>
          <p:nvPr/>
        </p:nvPicPr>
        <p:blipFill>
          <a:blip r:embed="rId3"/>
          <a:stretch>
            <a:fillRect/>
          </a:stretch>
        </p:blipFill>
        <p:spPr>
          <a:xfrm>
            <a:off x="287943" y="1711098"/>
            <a:ext cx="5010150" cy="1476375"/>
          </a:xfrm>
          <a:prstGeom prst="rect">
            <a:avLst/>
          </a:prstGeom>
        </p:spPr>
      </p:pic>
      <p:graphicFrame>
        <p:nvGraphicFramePr>
          <p:cNvPr id="4" name="Chart 3">
            <a:extLst>
              <a:ext uri="{FF2B5EF4-FFF2-40B4-BE49-F238E27FC236}">
                <a16:creationId xmlns:a16="http://schemas.microsoft.com/office/drawing/2014/main" id="{7D25C961-871A-5B43-CB3F-A5F1E6DA6E55}"/>
              </a:ext>
            </a:extLst>
          </p:cNvPr>
          <p:cNvGraphicFramePr>
            <a:graphicFrameLocks/>
          </p:cNvGraphicFramePr>
          <p:nvPr/>
        </p:nvGraphicFramePr>
        <p:xfrm>
          <a:off x="5519057" y="1553813"/>
          <a:ext cx="6385000" cy="412853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110356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3ED79E-75AF-6F28-1C3E-6582732117B4}"/>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D0767CF6-8B42-CBC0-1F04-6F7113F498EC}"/>
              </a:ext>
            </a:extLst>
          </p:cNvPr>
          <p:cNvSpPr>
            <a:spLocks noGrp="1"/>
          </p:cNvSpPr>
          <p:nvPr>
            <p:ph type="body" sz="quarter" idx="10"/>
          </p:nvPr>
        </p:nvSpPr>
        <p:spPr/>
        <p:txBody>
          <a:bodyPr/>
          <a:lstStyle/>
          <a:p>
            <a:r>
              <a:rPr lang="en-US" sz="1800" dirty="0"/>
              <a:t>Data Observations</a:t>
            </a:r>
          </a:p>
        </p:txBody>
      </p:sp>
      <p:sp>
        <p:nvSpPr>
          <p:cNvPr id="6" name="Title 5">
            <a:extLst>
              <a:ext uri="{FF2B5EF4-FFF2-40B4-BE49-F238E27FC236}">
                <a16:creationId xmlns:a16="http://schemas.microsoft.com/office/drawing/2014/main" id="{256806CC-FDFB-1536-81B2-8F204AD5FE01}"/>
              </a:ext>
            </a:extLst>
          </p:cNvPr>
          <p:cNvSpPr>
            <a:spLocks noGrp="1"/>
          </p:cNvSpPr>
          <p:nvPr>
            <p:ph type="title"/>
          </p:nvPr>
        </p:nvSpPr>
        <p:spPr>
          <a:xfrm>
            <a:off x="367145" y="83448"/>
            <a:ext cx="11010898" cy="1229360"/>
          </a:xfrm>
        </p:spPr>
        <p:txBody>
          <a:bodyPr/>
          <a:lstStyle/>
          <a:p>
            <a:r>
              <a:rPr lang="en-US" sz="4000" dirty="0"/>
              <a:t>An Overview of this Analysis</a:t>
            </a:r>
          </a:p>
        </p:txBody>
      </p:sp>
      <p:sp>
        <p:nvSpPr>
          <p:cNvPr id="14" name="TextBox 13">
            <a:extLst>
              <a:ext uri="{FF2B5EF4-FFF2-40B4-BE49-F238E27FC236}">
                <a16:creationId xmlns:a16="http://schemas.microsoft.com/office/drawing/2014/main" id="{ED8DD91D-A281-E723-93F1-3DB5E2630EB4}"/>
              </a:ext>
            </a:extLst>
          </p:cNvPr>
          <p:cNvSpPr txBox="1"/>
          <p:nvPr/>
        </p:nvSpPr>
        <p:spPr>
          <a:xfrm>
            <a:off x="367145" y="1170536"/>
            <a:ext cx="10515600" cy="646331"/>
          </a:xfrm>
          <a:prstGeom prst="rect">
            <a:avLst/>
          </a:prstGeom>
          <a:noFill/>
        </p:spPr>
        <p:txBody>
          <a:bodyPr wrap="square">
            <a:spAutoFit/>
          </a:bodyPr>
          <a:lstStyle/>
          <a:p>
            <a:r>
              <a:rPr lang="en-US" sz="1800" dirty="0">
                <a:solidFill>
                  <a:schemeClr val="bg2"/>
                </a:solidFill>
                <a:latin typeface="+mj-lt"/>
              </a:rPr>
              <a:t>Data Counts By Language, Administrative Gender, Age, Religion</a:t>
            </a:r>
          </a:p>
          <a:p>
            <a:endParaRPr lang="en-US" dirty="0">
              <a:solidFill>
                <a:schemeClr val="bg2"/>
              </a:solidFill>
              <a:latin typeface="+mj-lt"/>
            </a:endParaRPr>
          </a:p>
        </p:txBody>
      </p:sp>
      <p:graphicFrame>
        <p:nvGraphicFramePr>
          <p:cNvPr id="5" name="Chart 4">
            <a:extLst>
              <a:ext uri="{FF2B5EF4-FFF2-40B4-BE49-F238E27FC236}">
                <a16:creationId xmlns:a16="http://schemas.microsoft.com/office/drawing/2014/main" id="{153268E7-5358-F419-0857-687173E77B44}"/>
              </a:ext>
            </a:extLst>
          </p:cNvPr>
          <p:cNvGraphicFramePr>
            <a:graphicFrameLocks/>
          </p:cNvGraphicFramePr>
          <p:nvPr/>
        </p:nvGraphicFramePr>
        <p:xfrm>
          <a:off x="3763738" y="1488500"/>
          <a:ext cx="4022782" cy="243806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Chart 6">
            <a:extLst>
              <a:ext uri="{FF2B5EF4-FFF2-40B4-BE49-F238E27FC236}">
                <a16:creationId xmlns:a16="http://schemas.microsoft.com/office/drawing/2014/main" id="{0D6FA8E6-6612-9A63-5012-20493BE68DA7}"/>
              </a:ext>
            </a:extLst>
          </p:cNvPr>
          <p:cNvGraphicFramePr>
            <a:graphicFrameLocks/>
          </p:cNvGraphicFramePr>
          <p:nvPr/>
        </p:nvGraphicFramePr>
        <p:xfrm>
          <a:off x="8428263" y="1458686"/>
          <a:ext cx="3581401" cy="243806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8" name="Chart 7">
            <a:extLst>
              <a:ext uri="{FF2B5EF4-FFF2-40B4-BE49-F238E27FC236}">
                <a16:creationId xmlns:a16="http://schemas.microsoft.com/office/drawing/2014/main" id="{B9A62285-B5C9-92EA-4BDB-094F09598740}"/>
              </a:ext>
            </a:extLst>
          </p:cNvPr>
          <p:cNvGraphicFramePr>
            <a:graphicFrameLocks/>
          </p:cNvGraphicFramePr>
          <p:nvPr/>
        </p:nvGraphicFramePr>
        <p:xfrm>
          <a:off x="3763738" y="4077135"/>
          <a:ext cx="4022782" cy="2612571"/>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9" name="Chart 8">
            <a:extLst>
              <a:ext uri="{FF2B5EF4-FFF2-40B4-BE49-F238E27FC236}">
                <a16:creationId xmlns:a16="http://schemas.microsoft.com/office/drawing/2014/main" id="{FDE0D0BD-E204-D9E1-36B8-19A711D5A522}"/>
              </a:ext>
            </a:extLst>
          </p:cNvPr>
          <p:cNvGraphicFramePr>
            <a:graphicFrameLocks/>
          </p:cNvGraphicFramePr>
          <p:nvPr/>
        </p:nvGraphicFramePr>
        <p:xfrm>
          <a:off x="8428263" y="3954236"/>
          <a:ext cx="3581401" cy="2196194"/>
        </p:xfrm>
        <a:graphic>
          <a:graphicData uri="http://schemas.openxmlformats.org/drawingml/2006/chart">
            <c:chart xmlns:c="http://schemas.openxmlformats.org/drawingml/2006/chart" xmlns:r="http://schemas.openxmlformats.org/officeDocument/2006/relationships" r:id="rId6"/>
          </a:graphicData>
        </a:graphic>
      </p:graphicFrame>
      <p:pic>
        <p:nvPicPr>
          <p:cNvPr id="10" name="Picture 9">
            <a:extLst>
              <a:ext uri="{FF2B5EF4-FFF2-40B4-BE49-F238E27FC236}">
                <a16:creationId xmlns:a16="http://schemas.microsoft.com/office/drawing/2014/main" id="{054099AE-2725-B788-B204-AA803F8685E9}"/>
              </a:ext>
            </a:extLst>
          </p:cNvPr>
          <p:cNvPicPr>
            <a:picLocks noChangeAspect="1"/>
          </p:cNvPicPr>
          <p:nvPr/>
        </p:nvPicPr>
        <p:blipFill>
          <a:blip r:embed="rId7"/>
          <a:stretch>
            <a:fillRect/>
          </a:stretch>
        </p:blipFill>
        <p:spPr>
          <a:xfrm>
            <a:off x="454479" y="1488500"/>
            <a:ext cx="2857500" cy="5372100"/>
          </a:xfrm>
          <a:prstGeom prst="rect">
            <a:avLst/>
          </a:prstGeom>
        </p:spPr>
      </p:pic>
    </p:spTree>
    <p:extLst>
      <p:ext uri="{BB962C8B-B14F-4D97-AF65-F5344CB8AC3E}">
        <p14:creationId xmlns:p14="http://schemas.microsoft.com/office/powerpoint/2010/main" val="3006019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22E4F8-AC7C-DBE4-44B0-273323BA040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9F8F8A2-5792-08BC-7FD2-E382D0BF3B2B}"/>
              </a:ext>
            </a:extLst>
          </p:cNvPr>
          <p:cNvSpPr>
            <a:spLocks noGrp="1"/>
          </p:cNvSpPr>
          <p:nvPr>
            <p:ph type="ctrTitle"/>
          </p:nvPr>
        </p:nvSpPr>
        <p:spPr>
          <a:xfrm>
            <a:off x="522513" y="509781"/>
            <a:ext cx="7475537" cy="538586"/>
          </a:xfrm>
        </p:spPr>
        <p:txBody>
          <a:bodyPr>
            <a:normAutofit fontScale="90000"/>
          </a:bodyPr>
          <a:lstStyle/>
          <a:p>
            <a:pPr algn="l"/>
            <a:r>
              <a:rPr lang="en-US" dirty="0">
                <a:solidFill>
                  <a:schemeClr val="bg1"/>
                </a:solidFill>
                <a:latin typeface="Source Serif Pro" panose="02040603050405020204" pitchFamily="18" charset="0"/>
                <a:ea typeface="Source Serif Pro" panose="02040603050405020204" pitchFamily="18" charset="0"/>
              </a:rPr>
              <a:t>Learning Objectives</a:t>
            </a:r>
          </a:p>
        </p:txBody>
      </p:sp>
      <p:sp>
        <p:nvSpPr>
          <p:cNvPr id="6" name="Text Placeholder 2">
            <a:extLst>
              <a:ext uri="{FF2B5EF4-FFF2-40B4-BE49-F238E27FC236}">
                <a16:creationId xmlns:a16="http://schemas.microsoft.com/office/drawing/2014/main" id="{9D0A3B62-5B5B-D502-888A-C750B14363B9}"/>
              </a:ext>
            </a:extLst>
          </p:cNvPr>
          <p:cNvSpPr txBox="1">
            <a:spLocks/>
          </p:cNvSpPr>
          <p:nvPr/>
        </p:nvSpPr>
        <p:spPr>
          <a:xfrm>
            <a:off x="522513" y="2274093"/>
            <a:ext cx="11207933" cy="3819368"/>
          </a:xfrm>
          <a:prstGeom prst="rect">
            <a:avLst/>
          </a:prstGeom>
        </p:spPr>
        <p:txBody>
          <a:bodyPr vert="horz" lIns="91440" tIns="45720" rIns="91440" bIns="45720" rtlCol="0" anchor="t">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lumMod val="65000"/>
                    <a:lumOff val="35000"/>
                  </a:schemeClr>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r>
              <a:rPr lang="en-US" dirty="0">
                <a:solidFill>
                  <a:schemeClr val="bg1"/>
                </a:solidFill>
                <a:latin typeface="+mj-lt"/>
                <a:cs typeface="Arial"/>
              </a:rPr>
              <a:t>At the conclusion of the presentation participants should be able to:</a:t>
            </a:r>
          </a:p>
          <a:p>
            <a:pPr marL="457200" indent="-457200" algn="l">
              <a:buAutoNum type="arabicPeriod"/>
            </a:pPr>
            <a:r>
              <a:rPr lang="en-US" dirty="0">
                <a:solidFill>
                  <a:schemeClr val="bg1"/>
                </a:solidFill>
                <a:latin typeface="+mj-lt"/>
                <a:cs typeface="Arial"/>
              </a:rPr>
              <a:t>Understand how a data driven, tech-enabled and clinically led future are necessary to meet evolving population trends, medical complexity and the need for personalized care, changing care delivery models and provider workflow challenges</a:t>
            </a:r>
          </a:p>
          <a:p>
            <a:pPr marL="457200" indent="-457200" algn="l">
              <a:buAutoNum type="arabicPeriod"/>
            </a:pPr>
            <a:r>
              <a:rPr lang="en-US" dirty="0">
                <a:solidFill>
                  <a:schemeClr val="bg1"/>
                </a:solidFill>
                <a:latin typeface="+mj-lt"/>
                <a:cs typeface="Arial"/>
              </a:rPr>
              <a:t>Appreciate the complexities of data standards, interoperability and structured clinical data and how it impacts social drivers of health and data equity</a:t>
            </a:r>
          </a:p>
          <a:p>
            <a:pPr marL="457200" indent="-457200" algn="l">
              <a:buAutoNum type="arabicPeriod"/>
            </a:pPr>
            <a:r>
              <a:rPr lang="en-US" dirty="0">
                <a:solidFill>
                  <a:schemeClr val="bg1"/>
                </a:solidFill>
                <a:latin typeface="+mj-lt"/>
                <a:cs typeface="Arial"/>
              </a:rPr>
              <a:t>Understand the value of unstructured data to complete the stories of healthcare journeys; perhaps reading between the lines to identify social differences in care delivery</a:t>
            </a:r>
          </a:p>
        </p:txBody>
      </p:sp>
      <p:sp>
        <p:nvSpPr>
          <p:cNvPr id="10" name="TextBox 9">
            <a:extLst>
              <a:ext uri="{FF2B5EF4-FFF2-40B4-BE49-F238E27FC236}">
                <a16:creationId xmlns:a16="http://schemas.microsoft.com/office/drawing/2014/main" id="{8D19D9CB-B4B8-E239-CC2E-66F6603FC652}"/>
              </a:ext>
            </a:extLst>
          </p:cNvPr>
          <p:cNvSpPr txBox="1"/>
          <p:nvPr/>
        </p:nvSpPr>
        <p:spPr>
          <a:xfrm>
            <a:off x="367937" y="1104560"/>
            <a:ext cx="10515600" cy="646331"/>
          </a:xfrm>
          <a:prstGeom prst="rect">
            <a:avLst/>
          </a:prstGeom>
          <a:noFill/>
        </p:spPr>
        <p:txBody>
          <a:bodyPr wrap="square">
            <a:spAutoFit/>
          </a:bodyPr>
          <a:lstStyle/>
          <a:p>
            <a:r>
              <a:rPr lang="en-US" sz="1800" dirty="0">
                <a:solidFill>
                  <a:schemeClr val="bg2"/>
                </a:solidFill>
                <a:latin typeface="Monseratt headings"/>
              </a:rPr>
              <a:t>Achieving a Holistic View of Patient Information, Improving Patient Care and Driving Innovation in Healthcare Through Leveraging Clinical Data Agnostic of Source</a:t>
            </a:r>
            <a:endParaRPr lang="en-US" dirty="0">
              <a:solidFill>
                <a:schemeClr val="bg2"/>
              </a:solidFill>
              <a:latin typeface="Monseratt headings"/>
            </a:endParaRPr>
          </a:p>
        </p:txBody>
      </p:sp>
    </p:spTree>
    <p:extLst>
      <p:ext uri="{BB962C8B-B14F-4D97-AF65-F5344CB8AC3E}">
        <p14:creationId xmlns:p14="http://schemas.microsoft.com/office/powerpoint/2010/main" val="154944488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F04619-DEE1-F8F5-46D9-B4714899F295}"/>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A31FD487-455E-3214-98B5-4096A7F13E1D}"/>
              </a:ext>
            </a:extLst>
          </p:cNvPr>
          <p:cNvSpPr>
            <a:spLocks noGrp="1"/>
          </p:cNvSpPr>
          <p:nvPr>
            <p:ph type="title"/>
          </p:nvPr>
        </p:nvSpPr>
        <p:spPr>
          <a:xfrm>
            <a:off x="874709" y="2954862"/>
            <a:ext cx="10784928" cy="615553"/>
          </a:xfrm>
        </p:spPr>
        <p:txBody>
          <a:bodyPr/>
          <a:lstStyle/>
          <a:p>
            <a:r>
              <a:rPr lang="en-US" dirty="0"/>
              <a:t>How do Social Divisions Impact Data Quality?</a:t>
            </a:r>
          </a:p>
        </p:txBody>
      </p:sp>
    </p:spTree>
    <p:extLst>
      <p:ext uri="{BB962C8B-B14F-4D97-AF65-F5344CB8AC3E}">
        <p14:creationId xmlns:p14="http://schemas.microsoft.com/office/powerpoint/2010/main" val="15861182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4A5BE3DF-69C7-AF20-0E70-49E1B4A05859}"/>
              </a:ext>
            </a:extLst>
          </p:cNvPr>
          <p:cNvPicPr>
            <a:picLocks noChangeAspect="1"/>
          </p:cNvPicPr>
          <p:nvPr/>
        </p:nvPicPr>
        <p:blipFill>
          <a:blip r:embed="rId3"/>
          <a:stretch>
            <a:fillRect/>
          </a:stretch>
        </p:blipFill>
        <p:spPr>
          <a:xfrm>
            <a:off x="145733" y="1584453"/>
            <a:ext cx="12046267" cy="4196476"/>
          </a:xfrm>
          <a:prstGeom prst="rect">
            <a:avLst/>
          </a:prstGeom>
        </p:spPr>
      </p:pic>
      <p:sp>
        <p:nvSpPr>
          <p:cNvPr id="2" name="Text Placeholder 1">
            <a:extLst>
              <a:ext uri="{FF2B5EF4-FFF2-40B4-BE49-F238E27FC236}">
                <a16:creationId xmlns:a16="http://schemas.microsoft.com/office/drawing/2014/main" id="{7228F6C4-4B31-7097-8C48-CE49366973B1}"/>
              </a:ext>
            </a:extLst>
          </p:cNvPr>
          <p:cNvSpPr>
            <a:spLocks noGrp="1"/>
          </p:cNvSpPr>
          <p:nvPr>
            <p:ph type="body" sz="quarter" idx="10"/>
          </p:nvPr>
        </p:nvSpPr>
        <p:spPr/>
        <p:txBody>
          <a:bodyPr>
            <a:normAutofit/>
          </a:bodyPr>
          <a:lstStyle/>
          <a:p>
            <a:r>
              <a:rPr lang="en-US" sz="1800" dirty="0"/>
              <a:t>Of Marginalized and Non-Marginalized Data Capture</a:t>
            </a:r>
          </a:p>
        </p:txBody>
      </p:sp>
      <p:sp>
        <p:nvSpPr>
          <p:cNvPr id="5" name="Title 4">
            <a:extLst>
              <a:ext uri="{FF2B5EF4-FFF2-40B4-BE49-F238E27FC236}">
                <a16:creationId xmlns:a16="http://schemas.microsoft.com/office/drawing/2014/main" id="{50D7B680-6EF7-A5CE-B8C1-42E16CA4E777}"/>
              </a:ext>
            </a:extLst>
          </p:cNvPr>
          <p:cNvSpPr>
            <a:spLocks noGrp="1"/>
          </p:cNvSpPr>
          <p:nvPr>
            <p:ph type="title"/>
          </p:nvPr>
        </p:nvSpPr>
        <p:spPr/>
        <p:txBody>
          <a:bodyPr/>
          <a:lstStyle/>
          <a:p>
            <a:r>
              <a:rPr lang="en-US" sz="4000" dirty="0"/>
              <a:t>Size and Count Comparison</a:t>
            </a:r>
          </a:p>
        </p:txBody>
      </p:sp>
      <p:graphicFrame>
        <p:nvGraphicFramePr>
          <p:cNvPr id="12" name="Chart 11">
            <a:extLst>
              <a:ext uri="{FF2B5EF4-FFF2-40B4-BE49-F238E27FC236}">
                <a16:creationId xmlns:a16="http://schemas.microsoft.com/office/drawing/2014/main" id="{BB0F1AAD-0705-652A-A1A1-DB7B1EB11630}"/>
              </a:ext>
            </a:extLst>
          </p:cNvPr>
          <p:cNvGraphicFramePr/>
          <p:nvPr>
            <p:extLst>
              <p:ext uri="{D42A27DB-BD31-4B8C-83A1-F6EECF244321}">
                <p14:modId xmlns:p14="http://schemas.microsoft.com/office/powerpoint/2010/main" val="3461565091"/>
              </p:ext>
            </p:extLst>
          </p:nvPr>
        </p:nvGraphicFramePr>
        <p:xfrm>
          <a:off x="6528214" y="4247285"/>
          <a:ext cx="4645705" cy="2448833"/>
        </p:xfrm>
        <a:graphic>
          <a:graphicData uri="http://schemas.openxmlformats.org/drawingml/2006/chart">
            <c:chart xmlns:c="http://schemas.openxmlformats.org/drawingml/2006/chart" xmlns:r="http://schemas.openxmlformats.org/officeDocument/2006/relationships" r:id="rId4"/>
          </a:graphicData>
        </a:graphic>
      </p:graphicFrame>
      <p:sp>
        <p:nvSpPr>
          <p:cNvPr id="13" name="TextBox 12">
            <a:extLst>
              <a:ext uri="{FF2B5EF4-FFF2-40B4-BE49-F238E27FC236}">
                <a16:creationId xmlns:a16="http://schemas.microsoft.com/office/drawing/2014/main" id="{0CEF240C-2D03-E21C-4CBC-EB763F76F611}"/>
              </a:ext>
            </a:extLst>
          </p:cNvPr>
          <p:cNvSpPr txBox="1"/>
          <p:nvPr/>
        </p:nvSpPr>
        <p:spPr>
          <a:xfrm>
            <a:off x="145732" y="5869191"/>
            <a:ext cx="5518055" cy="738664"/>
          </a:xfrm>
          <a:prstGeom prst="rect">
            <a:avLst/>
          </a:prstGeom>
          <a:noFill/>
          <a:ln w="25400">
            <a:solidFill>
              <a:schemeClr val="tx2"/>
            </a:solidFill>
          </a:ln>
        </p:spPr>
        <p:txBody>
          <a:bodyPr wrap="square">
            <a:spAutoFit/>
          </a:bodyPr>
          <a:lstStyle/>
          <a:p>
            <a:pPr marL="285750" indent="-285750" algn="l" fontAlgn="base">
              <a:buFont typeface="Arial" panose="020B0604020202020204" pitchFamily="34" charset="0"/>
              <a:buChar char="•"/>
            </a:pPr>
            <a:r>
              <a:rPr lang="en-US" sz="1400" b="1" dirty="0">
                <a:solidFill>
                  <a:schemeClr val="bg2"/>
                </a:solidFill>
                <a:latin typeface="+mj-lt"/>
                <a:ea typeface="Inter" panose="02000503000000020004" pitchFamily="2" charset="0"/>
                <a:cs typeface="Kanit ExtraLight" panose="00000300000000000000" pitchFamily="50" charset="-34"/>
              </a:rPr>
              <a:t>Assumption/Observation: </a:t>
            </a:r>
            <a:r>
              <a:rPr lang="en-US" sz="1400" dirty="0">
                <a:solidFill>
                  <a:schemeClr val="bg2"/>
                </a:solidFill>
                <a:latin typeface="+mj-lt"/>
                <a:ea typeface="Inter" panose="02000503000000020004" pitchFamily="2" charset="0"/>
                <a:cs typeface="Kanit ExtraLight" panose="00000300000000000000" pitchFamily="50" charset="-34"/>
              </a:rPr>
              <a:t>Larger documents present more opportunities for trigger alerts, unless the size is mostly due to unstructured content, as trigger alerts are fired on structured data). </a:t>
            </a:r>
          </a:p>
        </p:txBody>
      </p:sp>
    </p:spTree>
    <p:extLst>
      <p:ext uri="{BB962C8B-B14F-4D97-AF65-F5344CB8AC3E}">
        <p14:creationId xmlns:p14="http://schemas.microsoft.com/office/powerpoint/2010/main" val="922266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hart 4">
            <a:extLst>
              <a:ext uri="{FF2B5EF4-FFF2-40B4-BE49-F238E27FC236}">
                <a16:creationId xmlns:a16="http://schemas.microsoft.com/office/drawing/2014/main" id="{CD03F240-1F99-434D-93B4-FA3B98FBADB5}"/>
              </a:ext>
            </a:extLst>
          </p:cNvPr>
          <p:cNvGraphicFramePr>
            <a:graphicFrameLocks/>
          </p:cNvGraphicFramePr>
          <p:nvPr/>
        </p:nvGraphicFramePr>
        <p:xfrm>
          <a:off x="115902" y="1543189"/>
          <a:ext cx="11887412" cy="4385493"/>
        </p:xfrm>
        <a:graphic>
          <a:graphicData uri="http://schemas.openxmlformats.org/drawingml/2006/chart">
            <c:chart xmlns:c="http://schemas.openxmlformats.org/drawingml/2006/chart" xmlns:r="http://schemas.openxmlformats.org/officeDocument/2006/relationships" r:id="rId3"/>
          </a:graphicData>
        </a:graphic>
      </p:graphicFrame>
      <p:sp>
        <p:nvSpPr>
          <p:cNvPr id="2" name="Text Placeholder 1">
            <a:extLst>
              <a:ext uri="{FF2B5EF4-FFF2-40B4-BE49-F238E27FC236}">
                <a16:creationId xmlns:a16="http://schemas.microsoft.com/office/drawing/2014/main" id="{6DB92764-683E-C1F3-F0D8-749DF4FED3F0}"/>
              </a:ext>
            </a:extLst>
          </p:cNvPr>
          <p:cNvSpPr>
            <a:spLocks noGrp="1"/>
          </p:cNvSpPr>
          <p:nvPr>
            <p:ph type="body" sz="quarter" idx="10"/>
          </p:nvPr>
        </p:nvSpPr>
        <p:spPr/>
        <p:txBody>
          <a:bodyPr/>
          <a:lstStyle/>
          <a:p>
            <a:r>
              <a:rPr lang="en-US" sz="1800" dirty="0">
                <a:latin typeface="+mj-lt"/>
              </a:rPr>
              <a:t>Measure of Unstructured Data</a:t>
            </a:r>
          </a:p>
        </p:txBody>
      </p:sp>
      <p:sp>
        <p:nvSpPr>
          <p:cNvPr id="4" name="Title 3">
            <a:extLst>
              <a:ext uri="{FF2B5EF4-FFF2-40B4-BE49-F238E27FC236}">
                <a16:creationId xmlns:a16="http://schemas.microsoft.com/office/drawing/2014/main" id="{E69D79DB-2CE4-A175-698C-0FA08D4E3DDA}"/>
              </a:ext>
            </a:extLst>
          </p:cNvPr>
          <p:cNvSpPr>
            <a:spLocks noGrp="1"/>
          </p:cNvSpPr>
          <p:nvPr>
            <p:ph type="title"/>
          </p:nvPr>
        </p:nvSpPr>
        <p:spPr/>
        <p:txBody>
          <a:bodyPr/>
          <a:lstStyle/>
          <a:p>
            <a:r>
              <a:rPr lang="en-US" sz="4000" dirty="0"/>
              <a:t>Racial variation in Document size</a:t>
            </a:r>
          </a:p>
        </p:txBody>
      </p:sp>
      <p:sp>
        <p:nvSpPr>
          <p:cNvPr id="9" name="TextBox 8">
            <a:extLst>
              <a:ext uri="{FF2B5EF4-FFF2-40B4-BE49-F238E27FC236}">
                <a16:creationId xmlns:a16="http://schemas.microsoft.com/office/drawing/2014/main" id="{F4FA5542-D968-C26E-9D56-B1DE3D74878A}"/>
              </a:ext>
            </a:extLst>
          </p:cNvPr>
          <p:cNvSpPr txBox="1"/>
          <p:nvPr/>
        </p:nvSpPr>
        <p:spPr>
          <a:xfrm>
            <a:off x="1745226" y="5867757"/>
            <a:ext cx="8855340" cy="646331"/>
          </a:xfrm>
          <a:prstGeom prst="rect">
            <a:avLst/>
          </a:prstGeom>
          <a:noFill/>
        </p:spPr>
        <p:txBody>
          <a:bodyPr wrap="square" rtlCol="0">
            <a:spAutoFit/>
          </a:bodyPr>
          <a:lstStyle/>
          <a:p>
            <a:pPr algn="ctr"/>
            <a:r>
              <a:rPr lang="en-US" dirty="0">
                <a:solidFill>
                  <a:schemeClr val="bg2"/>
                </a:solidFill>
                <a:latin typeface="+mj-lt"/>
              </a:rPr>
              <a:t>p&lt;0.001 on Kruskal-Wallis testing, indicating statistically significant differences between races in violations when indexed by file size, verified statistically significant in post hoc analysis</a:t>
            </a:r>
          </a:p>
        </p:txBody>
      </p:sp>
      <p:sp>
        <p:nvSpPr>
          <p:cNvPr id="6" name="Rectangle: Rounded Corners 5">
            <a:extLst>
              <a:ext uri="{FF2B5EF4-FFF2-40B4-BE49-F238E27FC236}">
                <a16:creationId xmlns:a16="http://schemas.microsoft.com/office/drawing/2014/main" id="{67DD41E3-D3A1-F119-D8BC-32961A36FB99}"/>
              </a:ext>
            </a:extLst>
          </p:cNvPr>
          <p:cNvSpPr/>
          <p:nvPr/>
        </p:nvSpPr>
        <p:spPr>
          <a:xfrm>
            <a:off x="1046602" y="2170323"/>
            <a:ext cx="3922005" cy="3470313"/>
          </a:xfrm>
          <a:prstGeom prst="roundRect">
            <a:avLst/>
          </a:prstGeom>
          <a:noFill/>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7" name="Rectangle: Rounded Corners 6">
            <a:extLst>
              <a:ext uri="{FF2B5EF4-FFF2-40B4-BE49-F238E27FC236}">
                <a16:creationId xmlns:a16="http://schemas.microsoft.com/office/drawing/2014/main" id="{F6A0EC57-1530-8A3B-9B18-5B5F11748E3E}"/>
              </a:ext>
            </a:extLst>
          </p:cNvPr>
          <p:cNvSpPr/>
          <p:nvPr/>
        </p:nvSpPr>
        <p:spPr>
          <a:xfrm>
            <a:off x="5528631" y="2157470"/>
            <a:ext cx="6248400" cy="3470313"/>
          </a:xfrm>
          <a:prstGeom prst="roundRect">
            <a:avLst/>
          </a:prstGeom>
          <a:no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Tree>
    <p:extLst>
      <p:ext uri="{BB962C8B-B14F-4D97-AF65-F5344CB8AC3E}">
        <p14:creationId xmlns:p14="http://schemas.microsoft.com/office/powerpoint/2010/main" val="1772332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D84B5B0-2879-79B0-5B26-69AC154934BB}"/>
              </a:ext>
            </a:extLst>
          </p:cNvPr>
          <p:cNvSpPr>
            <a:spLocks noGrp="1"/>
          </p:cNvSpPr>
          <p:nvPr>
            <p:ph type="body" sz="quarter" idx="10"/>
          </p:nvPr>
        </p:nvSpPr>
        <p:spPr/>
        <p:txBody>
          <a:bodyPr lIns="91440" tIns="45720" rIns="91440" bIns="45720" anchor="t"/>
          <a:lstStyle/>
          <a:p>
            <a:r>
              <a:rPr lang="en-US" sz="1800" dirty="0"/>
              <a:t>Null Entries Removed</a:t>
            </a:r>
          </a:p>
        </p:txBody>
      </p:sp>
      <p:sp>
        <p:nvSpPr>
          <p:cNvPr id="3" name="Title 2">
            <a:extLst>
              <a:ext uri="{FF2B5EF4-FFF2-40B4-BE49-F238E27FC236}">
                <a16:creationId xmlns:a16="http://schemas.microsoft.com/office/drawing/2014/main" id="{7A687C98-E81C-5EBA-C46A-D21B5D31987D}"/>
              </a:ext>
            </a:extLst>
          </p:cNvPr>
          <p:cNvSpPr>
            <a:spLocks noGrp="1"/>
          </p:cNvSpPr>
          <p:nvPr>
            <p:ph type="title"/>
          </p:nvPr>
        </p:nvSpPr>
        <p:spPr/>
        <p:txBody>
          <a:bodyPr/>
          <a:lstStyle/>
          <a:p>
            <a:r>
              <a:rPr lang="en-US" sz="4000" dirty="0">
                <a:cs typeface="Kanit Thin"/>
              </a:rPr>
              <a:t>Emergency Care by Race</a:t>
            </a:r>
            <a:endParaRPr lang="en-US" sz="4000" dirty="0"/>
          </a:p>
        </p:txBody>
      </p:sp>
      <p:graphicFrame>
        <p:nvGraphicFramePr>
          <p:cNvPr id="8" name="Table 4">
            <a:extLst>
              <a:ext uri="{FF2B5EF4-FFF2-40B4-BE49-F238E27FC236}">
                <a16:creationId xmlns:a16="http://schemas.microsoft.com/office/drawing/2014/main" id="{5EAB10F2-912D-6127-1469-CCCD158E4040}"/>
              </a:ext>
            </a:extLst>
          </p:cNvPr>
          <p:cNvGraphicFramePr>
            <a:graphicFrameLocks noGrp="1"/>
          </p:cNvGraphicFramePr>
          <p:nvPr>
            <p:extLst>
              <p:ext uri="{D42A27DB-BD31-4B8C-83A1-F6EECF244321}">
                <p14:modId xmlns:p14="http://schemas.microsoft.com/office/powerpoint/2010/main" val="2142139374"/>
              </p:ext>
            </p:extLst>
          </p:nvPr>
        </p:nvGraphicFramePr>
        <p:xfrm>
          <a:off x="1019219" y="2138982"/>
          <a:ext cx="10166941" cy="3792261"/>
        </p:xfrm>
        <a:graphic>
          <a:graphicData uri="http://schemas.openxmlformats.org/drawingml/2006/table">
            <a:tbl>
              <a:tblPr firstRow="1" bandRow="1">
                <a:tableStyleId>{5C22544A-7EE6-4342-B048-85BDC9FD1C3A}</a:tableStyleId>
              </a:tblPr>
              <a:tblGrid>
                <a:gridCol w="1784743">
                  <a:extLst>
                    <a:ext uri="{9D8B030D-6E8A-4147-A177-3AD203B41FA5}">
                      <a16:colId xmlns:a16="http://schemas.microsoft.com/office/drawing/2014/main" val="2377092304"/>
                    </a:ext>
                  </a:extLst>
                </a:gridCol>
                <a:gridCol w="1386878">
                  <a:extLst>
                    <a:ext uri="{9D8B030D-6E8A-4147-A177-3AD203B41FA5}">
                      <a16:colId xmlns:a16="http://schemas.microsoft.com/office/drawing/2014/main" val="1767588190"/>
                    </a:ext>
                  </a:extLst>
                </a:gridCol>
                <a:gridCol w="1399064">
                  <a:extLst>
                    <a:ext uri="{9D8B030D-6E8A-4147-A177-3AD203B41FA5}">
                      <a16:colId xmlns:a16="http://schemas.microsoft.com/office/drawing/2014/main" val="1851987238"/>
                    </a:ext>
                  </a:extLst>
                </a:gridCol>
                <a:gridCol w="1399064">
                  <a:extLst>
                    <a:ext uri="{9D8B030D-6E8A-4147-A177-3AD203B41FA5}">
                      <a16:colId xmlns:a16="http://schemas.microsoft.com/office/drawing/2014/main" val="1130134146"/>
                    </a:ext>
                  </a:extLst>
                </a:gridCol>
                <a:gridCol w="1399064">
                  <a:extLst>
                    <a:ext uri="{9D8B030D-6E8A-4147-A177-3AD203B41FA5}">
                      <a16:colId xmlns:a16="http://schemas.microsoft.com/office/drawing/2014/main" val="1578559411"/>
                    </a:ext>
                  </a:extLst>
                </a:gridCol>
                <a:gridCol w="1399064">
                  <a:extLst>
                    <a:ext uri="{9D8B030D-6E8A-4147-A177-3AD203B41FA5}">
                      <a16:colId xmlns:a16="http://schemas.microsoft.com/office/drawing/2014/main" val="2701931606"/>
                    </a:ext>
                  </a:extLst>
                </a:gridCol>
                <a:gridCol w="1399064">
                  <a:extLst>
                    <a:ext uri="{9D8B030D-6E8A-4147-A177-3AD203B41FA5}">
                      <a16:colId xmlns:a16="http://schemas.microsoft.com/office/drawing/2014/main" val="2928573854"/>
                    </a:ext>
                  </a:extLst>
                </a:gridCol>
              </a:tblGrid>
              <a:tr h="523776">
                <a:tc>
                  <a:txBody>
                    <a:bodyPr/>
                    <a:lstStyle/>
                    <a:p>
                      <a:pPr algn="l" fontAlgn="b"/>
                      <a:r>
                        <a:rPr lang="en-US" sz="1400" b="1" i="0" u="none" strike="noStrike" dirty="0">
                          <a:solidFill>
                            <a:srgbClr val="000000"/>
                          </a:solidFill>
                          <a:effectLst/>
                          <a:latin typeface="+mn-lt"/>
                          <a:cs typeface="Kanit ExtraLight" panose="00000300000000000000" pitchFamily="50" charset="-34"/>
                        </a:rPr>
                        <a:t>Row </a:t>
                      </a:r>
                      <a:r>
                        <a:rPr lang="en-US" sz="1400" b="1" i="0" u="none" strike="noStrike" dirty="0">
                          <a:solidFill>
                            <a:srgbClr val="000000"/>
                          </a:solidFill>
                          <a:effectLst/>
                          <a:latin typeface="+mj-lt"/>
                          <a:cs typeface="Kanit ExtraLight" panose="00000300000000000000" pitchFamily="50" charset="-34"/>
                        </a:rPr>
                        <a:t>Labels</a:t>
                      </a:r>
                    </a:p>
                  </a:txBody>
                  <a:tcPr marL="9525" marR="9525" marT="9525" marB="0" anchor="b"/>
                </a:tc>
                <a:tc>
                  <a:txBody>
                    <a:bodyPr/>
                    <a:lstStyle/>
                    <a:p>
                      <a:pPr algn="ctr" fontAlgn="b"/>
                      <a:r>
                        <a:rPr lang="en-US" sz="1400" b="1" i="0" u="none" strike="noStrike" dirty="0">
                          <a:solidFill>
                            <a:srgbClr val="000000"/>
                          </a:solidFill>
                          <a:effectLst/>
                          <a:latin typeface="+mn-lt"/>
                          <a:cs typeface="Kanit ExtraLight" panose="00000300000000000000" pitchFamily="50" charset="-34"/>
                        </a:rPr>
                        <a:t>American-Indian</a:t>
                      </a:r>
                    </a:p>
                  </a:txBody>
                  <a:tcPr marL="9525" marR="9525" marT="9525" marB="0" anchor="b"/>
                </a:tc>
                <a:tc>
                  <a:txBody>
                    <a:bodyPr/>
                    <a:lstStyle/>
                    <a:p>
                      <a:pPr algn="ctr" fontAlgn="b"/>
                      <a:r>
                        <a:rPr lang="en-US" sz="1400" b="1" i="0" u="none" strike="noStrike" dirty="0">
                          <a:solidFill>
                            <a:srgbClr val="000000"/>
                          </a:solidFill>
                          <a:effectLst/>
                          <a:latin typeface="+mn-lt"/>
                          <a:cs typeface="Kanit ExtraLight" panose="00000300000000000000" pitchFamily="50" charset="-34"/>
                        </a:rPr>
                        <a:t>Asian</a:t>
                      </a:r>
                    </a:p>
                  </a:txBody>
                  <a:tcPr marL="9525" marR="9525" marT="9525" marB="0" anchor="b"/>
                </a:tc>
                <a:tc>
                  <a:txBody>
                    <a:bodyPr/>
                    <a:lstStyle/>
                    <a:p>
                      <a:pPr algn="ctr" fontAlgn="b"/>
                      <a:r>
                        <a:rPr lang="en-US" sz="1400" b="1" i="0" u="none" strike="noStrike" dirty="0">
                          <a:solidFill>
                            <a:srgbClr val="000000"/>
                          </a:solidFill>
                          <a:effectLst/>
                          <a:latin typeface="+mn-lt"/>
                          <a:cs typeface="Kanit ExtraLight" panose="00000300000000000000" pitchFamily="50" charset="-34"/>
                        </a:rPr>
                        <a:t>Black or African American</a:t>
                      </a:r>
                    </a:p>
                  </a:txBody>
                  <a:tcPr marL="9525" marR="9525" marT="9525" marB="0" anchor="b"/>
                </a:tc>
                <a:tc>
                  <a:txBody>
                    <a:bodyPr/>
                    <a:lstStyle/>
                    <a:p>
                      <a:pPr algn="ctr" fontAlgn="b"/>
                      <a:r>
                        <a:rPr lang="en-US" sz="1400" b="1" i="0" u="none" strike="noStrike" dirty="0">
                          <a:solidFill>
                            <a:srgbClr val="000000"/>
                          </a:solidFill>
                          <a:effectLst/>
                          <a:latin typeface="+mn-lt"/>
                          <a:cs typeface="Kanit ExtraLight" panose="00000300000000000000" pitchFamily="50" charset="-34"/>
                        </a:rPr>
                        <a:t>Hawaiian or other Pacific Islander</a:t>
                      </a:r>
                    </a:p>
                  </a:txBody>
                  <a:tcPr marL="9525" marR="9525" marT="9525" marB="0" anchor="b"/>
                </a:tc>
                <a:tc>
                  <a:txBody>
                    <a:bodyPr/>
                    <a:lstStyle/>
                    <a:p>
                      <a:pPr algn="ctr" fontAlgn="b"/>
                      <a:r>
                        <a:rPr lang="en-US" sz="1400" b="1" i="0" u="none" strike="noStrike" dirty="0">
                          <a:solidFill>
                            <a:srgbClr val="000000"/>
                          </a:solidFill>
                          <a:effectLst/>
                          <a:latin typeface="+mn-lt"/>
                          <a:cs typeface="Kanit ExtraLight" panose="00000300000000000000" pitchFamily="50" charset="-34"/>
                        </a:rPr>
                        <a:t>White</a:t>
                      </a:r>
                    </a:p>
                  </a:txBody>
                  <a:tcPr marL="9525" marR="9525" marT="9525" marB="0" anchor="b"/>
                </a:tc>
                <a:tc>
                  <a:txBody>
                    <a:bodyPr/>
                    <a:lstStyle/>
                    <a:p>
                      <a:pPr algn="ctr" fontAlgn="b"/>
                      <a:r>
                        <a:rPr lang="en-US" sz="1400" b="1" i="0" u="none" strike="noStrike" dirty="0">
                          <a:solidFill>
                            <a:srgbClr val="000000"/>
                          </a:solidFill>
                          <a:effectLst/>
                          <a:latin typeface="+mn-lt"/>
                          <a:cs typeface="Kanit ExtraLight" panose="00000300000000000000" pitchFamily="50" charset="-34"/>
                        </a:rPr>
                        <a:t>Grand Total</a:t>
                      </a:r>
                    </a:p>
                  </a:txBody>
                  <a:tcPr marL="9525" marR="9525" marT="9525" marB="0" anchor="b"/>
                </a:tc>
                <a:extLst>
                  <a:ext uri="{0D108BD9-81ED-4DB2-BD59-A6C34878D82A}">
                    <a16:rowId xmlns:a16="http://schemas.microsoft.com/office/drawing/2014/main" val="1044232608"/>
                  </a:ext>
                </a:extLst>
              </a:tr>
              <a:tr h="523776">
                <a:tc>
                  <a:txBody>
                    <a:bodyPr/>
                    <a:lstStyle/>
                    <a:p>
                      <a:pPr algn="l" fontAlgn="b"/>
                      <a:r>
                        <a:rPr lang="en-US" sz="1400" b="0" i="0" u="none" strike="noStrike" dirty="0">
                          <a:solidFill>
                            <a:srgbClr val="000000"/>
                          </a:solidFill>
                          <a:effectLst/>
                          <a:latin typeface="+mn-lt"/>
                          <a:cs typeface="Kanit ExtraLight" panose="00000300000000000000" pitchFamily="50" charset="-34"/>
                        </a:rPr>
                        <a:t>Emergency</a:t>
                      </a:r>
                    </a:p>
                  </a:txBody>
                  <a:tcPr marL="9525" marR="9525" marT="9525" marB="0" anchor="b"/>
                </a:tc>
                <a:tc>
                  <a:txBody>
                    <a:bodyPr/>
                    <a:lstStyle/>
                    <a:p>
                      <a:pPr algn="ctr" fontAlgn="b"/>
                      <a:r>
                        <a:rPr lang="en-US" sz="1400" b="0" i="0" u="none" strike="noStrike" dirty="0">
                          <a:solidFill>
                            <a:srgbClr val="000000"/>
                          </a:solidFill>
                          <a:effectLst/>
                          <a:latin typeface="+mn-lt"/>
                          <a:cs typeface="Kanit ExtraLight" panose="00000300000000000000" pitchFamily="50" charset="-34"/>
                        </a:rPr>
                        <a:t>9</a:t>
                      </a:r>
                    </a:p>
                  </a:txBody>
                  <a:tcPr marL="9525" marR="9525" marT="9525" marB="0" anchor="ctr"/>
                </a:tc>
                <a:tc>
                  <a:txBody>
                    <a:bodyPr/>
                    <a:lstStyle/>
                    <a:p>
                      <a:pPr algn="ctr" fontAlgn="b"/>
                      <a:r>
                        <a:rPr lang="en-US" sz="1400" b="0" i="0" u="none" strike="noStrike">
                          <a:solidFill>
                            <a:srgbClr val="000000"/>
                          </a:solidFill>
                          <a:effectLst/>
                          <a:latin typeface="+mn-lt"/>
                          <a:cs typeface="Kanit ExtraLight" panose="00000300000000000000" pitchFamily="50" charset="-34"/>
                        </a:rPr>
                        <a:t>8</a:t>
                      </a:r>
                    </a:p>
                  </a:txBody>
                  <a:tcPr marL="9525" marR="9525" marT="9525" marB="0" anchor="ctr"/>
                </a:tc>
                <a:tc>
                  <a:txBody>
                    <a:bodyPr/>
                    <a:lstStyle/>
                    <a:p>
                      <a:pPr algn="ctr" fontAlgn="b"/>
                      <a:r>
                        <a:rPr lang="en-US" sz="1400" b="0" i="0" u="none" strike="noStrike">
                          <a:solidFill>
                            <a:srgbClr val="000000"/>
                          </a:solidFill>
                          <a:effectLst/>
                          <a:latin typeface="+mn-lt"/>
                          <a:cs typeface="Kanit ExtraLight" panose="00000300000000000000" pitchFamily="50" charset="-34"/>
                        </a:rPr>
                        <a:t>176</a:t>
                      </a:r>
                    </a:p>
                  </a:txBody>
                  <a:tcPr marL="9525" marR="9525" marT="9525" marB="0" anchor="ctr"/>
                </a:tc>
                <a:tc>
                  <a:txBody>
                    <a:bodyPr/>
                    <a:lstStyle/>
                    <a:p>
                      <a:pPr algn="ctr" fontAlgn="b"/>
                      <a:r>
                        <a:rPr lang="en-US" sz="1400" b="0" i="0" u="none" strike="noStrike">
                          <a:solidFill>
                            <a:srgbClr val="000000"/>
                          </a:solidFill>
                          <a:effectLst/>
                          <a:latin typeface="+mn-lt"/>
                          <a:cs typeface="Kanit ExtraLight" panose="00000300000000000000" pitchFamily="50" charset="-34"/>
                        </a:rPr>
                        <a:t>3</a:t>
                      </a:r>
                    </a:p>
                  </a:txBody>
                  <a:tcPr marL="9525" marR="9525" marT="9525" marB="0" anchor="ctr"/>
                </a:tc>
                <a:tc>
                  <a:txBody>
                    <a:bodyPr/>
                    <a:lstStyle/>
                    <a:p>
                      <a:pPr algn="ctr" fontAlgn="b"/>
                      <a:r>
                        <a:rPr lang="en-US" sz="1400" b="0" i="0" u="none" strike="noStrike">
                          <a:solidFill>
                            <a:srgbClr val="000000"/>
                          </a:solidFill>
                          <a:effectLst/>
                          <a:latin typeface="+mn-lt"/>
                          <a:cs typeface="Kanit ExtraLight" panose="00000300000000000000" pitchFamily="50" charset="-34"/>
                        </a:rPr>
                        <a:t>992</a:t>
                      </a:r>
                    </a:p>
                  </a:txBody>
                  <a:tcPr marL="9525" marR="9525" marT="9525" marB="0" anchor="ctr"/>
                </a:tc>
                <a:tc>
                  <a:txBody>
                    <a:bodyPr/>
                    <a:lstStyle/>
                    <a:p>
                      <a:pPr algn="ctr" fontAlgn="b"/>
                      <a:r>
                        <a:rPr lang="en-US" sz="1400" b="0" i="0" u="none" strike="noStrike">
                          <a:solidFill>
                            <a:srgbClr val="000000"/>
                          </a:solidFill>
                          <a:effectLst/>
                          <a:latin typeface="+mn-lt"/>
                          <a:cs typeface="Kanit ExtraLight" panose="00000300000000000000" pitchFamily="50" charset="-34"/>
                        </a:rPr>
                        <a:t>1188</a:t>
                      </a:r>
                    </a:p>
                  </a:txBody>
                  <a:tcPr marL="9525" marR="9525" marT="9525" marB="0" anchor="ctr"/>
                </a:tc>
                <a:extLst>
                  <a:ext uri="{0D108BD9-81ED-4DB2-BD59-A6C34878D82A}">
                    <a16:rowId xmlns:a16="http://schemas.microsoft.com/office/drawing/2014/main" val="1777349501"/>
                  </a:ext>
                </a:extLst>
              </a:tr>
              <a:tr h="523776">
                <a:tc>
                  <a:txBody>
                    <a:bodyPr/>
                    <a:lstStyle/>
                    <a:p>
                      <a:pPr algn="l" fontAlgn="b"/>
                      <a:r>
                        <a:rPr lang="en-US" sz="1400" b="0" i="0" u="none" strike="noStrike">
                          <a:solidFill>
                            <a:srgbClr val="000000"/>
                          </a:solidFill>
                          <a:effectLst/>
                          <a:latin typeface="+mn-lt"/>
                          <a:cs typeface="Kanit ExtraLight" panose="00000300000000000000" pitchFamily="50" charset="-34"/>
                        </a:rPr>
                        <a:t>Inpatient</a:t>
                      </a:r>
                    </a:p>
                  </a:txBody>
                  <a:tcPr marL="9525" marR="9525" marT="9525" marB="0" anchor="b"/>
                </a:tc>
                <a:tc>
                  <a:txBody>
                    <a:bodyPr/>
                    <a:lstStyle/>
                    <a:p>
                      <a:pPr algn="ctr" fontAlgn="b"/>
                      <a:r>
                        <a:rPr lang="en-US" sz="1400" b="0" i="0" u="none" strike="noStrike">
                          <a:solidFill>
                            <a:srgbClr val="000000"/>
                          </a:solidFill>
                          <a:effectLst/>
                          <a:latin typeface="+mn-lt"/>
                          <a:cs typeface="Kanit ExtraLight" panose="00000300000000000000" pitchFamily="50" charset="-34"/>
                        </a:rPr>
                        <a:t>4</a:t>
                      </a:r>
                    </a:p>
                  </a:txBody>
                  <a:tcPr marL="9525" marR="9525" marT="9525" marB="0" anchor="ctr"/>
                </a:tc>
                <a:tc>
                  <a:txBody>
                    <a:bodyPr/>
                    <a:lstStyle/>
                    <a:p>
                      <a:pPr algn="ctr" fontAlgn="b"/>
                      <a:r>
                        <a:rPr lang="en-US" sz="1400" b="0" i="0" u="none" strike="noStrike" dirty="0">
                          <a:solidFill>
                            <a:srgbClr val="000000"/>
                          </a:solidFill>
                          <a:effectLst/>
                          <a:latin typeface="+mn-lt"/>
                          <a:cs typeface="Kanit ExtraLight" panose="00000300000000000000" pitchFamily="50" charset="-34"/>
                        </a:rPr>
                        <a:t>7</a:t>
                      </a:r>
                    </a:p>
                  </a:txBody>
                  <a:tcPr marL="9525" marR="9525" marT="9525" marB="0" anchor="ctr"/>
                </a:tc>
                <a:tc>
                  <a:txBody>
                    <a:bodyPr/>
                    <a:lstStyle/>
                    <a:p>
                      <a:pPr algn="ctr" fontAlgn="b"/>
                      <a:r>
                        <a:rPr lang="en-US" sz="1400" b="0" i="0" u="none" strike="noStrike">
                          <a:solidFill>
                            <a:srgbClr val="000000"/>
                          </a:solidFill>
                          <a:effectLst/>
                          <a:latin typeface="+mn-lt"/>
                          <a:cs typeface="Kanit ExtraLight" panose="00000300000000000000" pitchFamily="50" charset="-34"/>
                        </a:rPr>
                        <a:t>87</a:t>
                      </a:r>
                    </a:p>
                  </a:txBody>
                  <a:tcPr marL="9525" marR="9525" marT="9525" marB="0" anchor="ctr"/>
                </a:tc>
                <a:tc>
                  <a:txBody>
                    <a:bodyPr/>
                    <a:lstStyle/>
                    <a:p>
                      <a:pPr algn="ctr" fontAlgn="b"/>
                      <a:r>
                        <a:rPr lang="en-US" sz="1400" b="0" i="0" u="none" strike="noStrike">
                          <a:solidFill>
                            <a:srgbClr val="000000"/>
                          </a:solidFill>
                          <a:effectLst/>
                          <a:latin typeface="+mn-lt"/>
                          <a:cs typeface="Kanit ExtraLight" panose="00000300000000000000" pitchFamily="50" charset="-34"/>
                        </a:rPr>
                        <a:t>1</a:t>
                      </a:r>
                    </a:p>
                  </a:txBody>
                  <a:tcPr marL="9525" marR="9525" marT="9525" marB="0" anchor="ctr"/>
                </a:tc>
                <a:tc>
                  <a:txBody>
                    <a:bodyPr/>
                    <a:lstStyle/>
                    <a:p>
                      <a:pPr algn="ctr" fontAlgn="b"/>
                      <a:r>
                        <a:rPr lang="en-US" sz="1400" b="0" i="0" u="none" strike="noStrike">
                          <a:solidFill>
                            <a:srgbClr val="000000"/>
                          </a:solidFill>
                          <a:effectLst/>
                          <a:latin typeface="+mn-lt"/>
                          <a:cs typeface="Kanit ExtraLight" panose="00000300000000000000" pitchFamily="50" charset="-34"/>
                        </a:rPr>
                        <a:t>570</a:t>
                      </a:r>
                    </a:p>
                  </a:txBody>
                  <a:tcPr marL="9525" marR="9525" marT="9525" marB="0" anchor="ctr"/>
                </a:tc>
                <a:tc>
                  <a:txBody>
                    <a:bodyPr/>
                    <a:lstStyle/>
                    <a:p>
                      <a:pPr algn="ctr" fontAlgn="b"/>
                      <a:r>
                        <a:rPr lang="en-US" sz="1400" b="0" i="0" u="none" strike="noStrike">
                          <a:solidFill>
                            <a:srgbClr val="000000"/>
                          </a:solidFill>
                          <a:effectLst/>
                          <a:latin typeface="+mn-lt"/>
                          <a:cs typeface="Kanit ExtraLight" panose="00000300000000000000" pitchFamily="50" charset="-34"/>
                        </a:rPr>
                        <a:t>669</a:t>
                      </a:r>
                    </a:p>
                  </a:txBody>
                  <a:tcPr marL="9525" marR="9525" marT="9525" marB="0" anchor="ctr"/>
                </a:tc>
                <a:extLst>
                  <a:ext uri="{0D108BD9-81ED-4DB2-BD59-A6C34878D82A}">
                    <a16:rowId xmlns:a16="http://schemas.microsoft.com/office/drawing/2014/main" val="1828065355"/>
                  </a:ext>
                </a:extLst>
              </a:tr>
              <a:tr h="523776">
                <a:tc>
                  <a:txBody>
                    <a:bodyPr/>
                    <a:lstStyle/>
                    <a:p>
                      <a:pPr algn="l" fontAlgn="b"/>
                      <a:r>
                        <a:rPr lang="en-US" sz="1400" b="0" i="0" u="none" strike="noStrike">
                          <a:solidFill>
                            <a:srgbClr val="000000"/>
                          </a:solidFill>
                          <a:effectLst/>
                          <a:latin typeface="+mn-lt"/>
                          <a:cs typeface="Kanit ExtraLight" panose="00000300000000000000" pitchFamily="50" charset="-34"/>
                        </a:rPr>
                        <a:t>Outpatient</a:t>
                      </a:r>
                    </a:p>
                  </a:txBody>
                  <a:tcPr marL="9525" marR="9525" marT="9525" marB="0" anchor="b"/>
                </a:tc>
                <a:tc>
                  <a:txBody>
                    <a:bodyPr/>
                    <a:lstStyle/>
                    <a:p>
                      <a:pPr algn="ctr" fontAlgn="b"/>
                      <a:r>
                        <a:rPr lang="en-US" sz="1400" b="0" i="0" u="none" strike="noStrike">
                          <a:solidFill>
                            <a:srgbClr val="000000"/>
                          </a:solidFill>
                          <a:effectLst/>
                          <a:latin typeface="+mn-lt"/>
                          <a:cs typeface="Kanit ExtraLight" panose="00000300000000000000" pitchFamily="50" charset="-34"/>
                        </a:rPr>
                        <a:t>90</a:t>
                      </a:r>
                    </a:p>
                  </a:txBody>
                  <a:tcPr marL="9525" marR="9525" marT="9525" marB="0" anchor="ctr"/>
                </a:tc>
                <a:tc>
                  <a:txBody>
                    <a:bodyPr/>
                    <a:lstStyle/>
                    <a:p>
                      <a:pPr algn="ctr" fontAlgn="b"/>
                      <a:r>
                        <a:rPr lang="en-US" sz="1400" b="0" i="0" u="none" strike="noStrike">
                          <a:solidFill>
                            <a:srgbClr val="000000"/>
                          </a:solidFill>
                          <a:effectLst/>
                          <a:latin typeface="+mn-lt"/>
                          <a:cs typeface="Kanit ExtraLight" panose="00000300000000000000" pitchFamily="50" charset="-34"/>
                        </a:rPr>
                        <a:t>237</a:t>
                      </a:r>
                    </a:p>
                  </a:txBody>
                  <a:tcPr marL="9525" marR="9525" marT="9525" marB="0" anchor="ctr"/>
                </a:tc>
                <a:tc>
                  <a:txBody>
                    <a:bodyPr/>
                    <a:lstStyle/>
                    <a:p>
                      <a:pPr algn="ctr" fontAlgn="b"/>
                      <a:r>
                        <a:rPr lang="en-US" sz="1400" b="0" i="0" u="none" strike="noStrike">
                          <a:solidFill>
                            <a:srgbClr val="000000"/>
                          </a:solidFill>
                          <a:effectLst/>
                          <a:latin typeface="+mn-lt"/>
                          <a:cs typeface="Kanit ExtraLight" panose="00000300000000000000" pitchFamily="50" charset="-34"/>
                        </a:rPr>
                        <a:t>1,367</a:t>
                      </a:r>
                    </a:p>
                  </a:txBody>
                  <a:tcPr marL="9525" marR="9525" marT="9525" marB="0" anchor="ctr"/>
                </a:tc>
                <a:tc>
                  <a:txBody>
                    <a:bodyPr/>
                    <a:lstStyle/>
                    <a:p>
                      <a:pPr algn="ctr" fontAlgn="b"/>
                      <a:r>
                        <a:rPr lang="en-US" sz="1400" b="0" i="0" u="none" strike="noStrike" dirty="0">
                          <a:solidFill>
                            <a:srgbClr val="000000"/>
                          </a:solidFill>
                          <a:effectLst/>
                          <a:latin typeface="+mn-lt"/>
                          <a:cs typeface="Kanit ExtraLight" panose="00000300000000000000" pitchFamily="50" charset="-34"/>
                        </a:rPr>
                        <a:t>20</a:t>
                      </a:r>
                    </a:p>
                  </a:txBody>
                  <a:tcPr marL="9525" marR="9525" marT="9525" marB="0" anchor="ctr"/>
                </a:tc>
                <a:tc>
                  <a:txBody>
                    <a:bodyPr/>
                    <a:lstStyle/>
                    <a:p>
                      <a:pPr algn="ctr" fontAlgn="b"/>
                      <a:r>
                        <a:rPr lang="en-US" sz="1400" b="0" i="0" u="none" strike="noStrike">
                          <a:solidFill>
                            <a:srgbClr val="000000"/>
                          </a:solidFill>
                          <a:effectLst/>
                          <a:latin typeface="+mn-lt"/>
                          <a:cs typeface="Kanit ExtraLight" panose="00000300000000000000" pitchFamily="50" charset="-34"/>
                        </a:rPr>
                        <a:t>17,966</a:t>
                      </a:r>
                    </a:p>
                  </a:txBody>
                  <a:tcPr marL="9525" marR="9525" marT="9525" marB="0" anchor="ctr"/>
                </a:tc>
                <a:tc>
                  <a:txBody>
                    <a:bodyPr/>
                    <a:lstStyle/>
                    <a:p>
                      <a:pPr algn="ctr" fontAlgn="b"/>
                      <a:r>
                        <a:rPr lang="en-US" sz="1400" b="0" i="0" u="none" strike="noStrike">
                          <a:solidFill>
                            <a:srgbClr val="000000"/>
                          </a:solidFill>
                          <a:effectLst/>
                          <a:latin typeface="+mn-lt"/>
                          <a:cs typeface="Kanit ExtraLight" panose="00000300000000000000" pitchFamily="50" charset="-34"/>
                        </a:rPr>
                        <a:t>19,680</a:t>
                      </a:r>
                    </a:p>
                  </a:txBody>
                  <a:tcPr marL="9525" marR="9525" marT="9525" marB="0" anchor="ctr"/>
                </a:tc>
                <a:extLst>
                  <a:ext uri="{0D108BD9-81ED-4DB2-BD59-A6C34878D82A}">
                    <a16:rowId xmlns:a16="http://schemas.microsoft.com/office/drawing/2014/main" val="1583904275"/>
                  </a:ext>
                </a:extLst>
              </a:tr>
              <a:tr h="523776">
                <a:tc>
                  <a:txBody>
                    <a:bodyPr/>
                    <a:lstStyle/>
                    <a:p>
                      <a:pPr algn="l" fontAlgn="b"/>
                      <a:r>
                        <a:rPr lang="en-US" sz="1400" b="1" i="0" u="none" strike="noStrike">
                          <a:solidFill>
                            <a:srgbClr val="000000"/>
                          </a:solidFill>
                          <a:effectLst/>
                          <a:latin typeface="+mn-lt"/>
                          <a:cs typeface="Kanit ExtraLight" panose="00000300000000000000" pitchFamily="50" charset="-34"/>
                        </a:rPr>
                        <a:t>Grand Total</a:t>
                      </a:r>
                    </a:p>
                  </a:txBody>
                  <a:tcPr marL="9525" marR="9525" marT="9525" marB="0" anchor="b"/>
                </a:tc>
                <a:tc>
                  <a:txBody>
                    <a:bodyPr/>
                    <a:lstStyle/>
                    <a:p>
                      <a:pPr algn="ctr" fontAlgn="b"/>
                      <a:r>
                        <a:rPr lang="en-US" sz="1400" b="0" i="0" u="none" strike="noStrike">
                          <a:solidFill>
                            <a:srgbClr val="000000"/>
                          </a:solidFill>
                          <a:effectLst/>
                          <a:latin typeface="+mn-lt"/>
                          <a:cs typeface="Kanit ExtraLight" panose="00000300000000000000" pitchFamily="50" charset="-34"/>
                        </a:rPr>
                        <a:t>103</a:t>
                      </a:r>
                    </a:p>
                  </a:txBody>
                  <a:tcPr marL="9525" marR="9525" marT="9525" marB="0" anchor="ctr"/>
                </a:tc>
                <a:tc>
                  <a:txBody>
                    <a:bodyPr/>
                    <a:lstStyle/>
                    <a:p>
                      <a:pPr algn="ctr" fontAlgn="b"/>
                      <a:r>
                        <a:rPr lang="en-US" sz="1400" b="0" i="0" u="none" strike="noStrike">
                          <a:solidFill>
                            <a:srgbClr val="000000"/>
                          </a:solidFill>
                          <a:effectLst/>
                          <a:latin typeface="+mn-lt"/>
                          <a:cs typeface="Kanit ExtraLight" panose="00000300000000000000" pitchFamily="50" charset="-34"/>
                        </a:rPr>
                        <a:t>252</a:t>
                      </a:r>
                    </a:p>
                  </a:txBody>
                  <a:tcPr marL="9525" marR="9525" marT="9525" marB="0" anchor="ctr"/>
                </a:tc>
                <a:tc>
                  <a:txBody>
                    <a:bodyPr/>
                    <a:lstStyle/>
                    <a:p>
                      <a:pPr algn="ctr" fontAlgn="b"/>
                      <a:r>
                        <a:rPr lang="en-US" sz="1400" b="0" i="0" u="none" strike="noStrike">
                          <a:solidFill>
                            <a:srgbClr val="000000"/>
                          </a:solidFill>
                          <a:effectLst/>
                          <a:latin typeface="+mn-lt"/>
                          <a:cs typeface="Kanit ExtraLight" panose="00000300000000000000" pitchFamily="50" charset="-34"/>
                        </a:rPr>
                        <a:t>1,630</a:t>
                      </a:r>
                    </a:p>
                  </a:txBody>
                  <a:tcPr marL="9525" marR="9525" marT="9525" marB="0" anchor="ctr">
                    <a:lnB w="12700" cap="flat" cmpd="sng" algn="ctr">
                      <a:solidFill>
                        <a:schemeClr val="tx1"/>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mn-lt"/>
                          <a:cs typeface="Kanit ExtraLight" panose="00000300000000000000" pitchFamily="50" charset="-34"/>
                        </a:rPr>
                        <a:t>24</a:t>
                      </a:r>
                    </a:p>
                  </a:txBody>
                  <a:tcPr marL="9525" marR="9525" marT="9525" marB="0" anchor="ctr"/>
                </a:tc>
                <a:tc>
                  <a:txBody>
                    <a:bodyPr/>
                    <a:lstStyle/>
                    <a:p>
                      <a:pPr algn="ctr" fontAlgn="b"/>
                      <a:r>
                        <a:rPr lang="en-US" sz="1400" b="0" i="0" u="none" strike="noStrike">
                          <a:solidFill>
                            <a:srgbClr val="000000"/>
                          </a:solidFill>
                          <a:effectLst/>
                          <a:latin typeface="+mn-lt"/>
                          <a:cs typeface="Kanit ExtraLight" panose="00000300000000000000" pitchFamily="50" charset="-34"/>
                        </a:rPr>
                        <a:t>19,528</a:t>
                      </a:r>
                    </a:p>
                  </a:txBody>
                  <a:tcPr marL="9525" marR="9525" marT="9525" marB="0" anchor="ctr"/>
                </a:tc>
                <a:tc>
                  <a:txBody>
                    <a:bodyPr/>
                    <a:lstStyle/>
                    <a:p>
                      <a:pPr algn="ctr" fontAlgn="b"/>
                      <a:r>
                        <a:rPr lang="en-US" sz="1400" b="0" i="0" u="none" strike="noStrike">
                          <a:solidFill>
                            <a:srgbClr val="000000"/>
                          </a:solidFill>
                          <a:effectLst/>
                          <a:latin typeface="+mn-lt"/>
                          <a:cs typeface="Kanit ExtraLight" panose="00000300000000000000" pitchFamily="50" charset="-34"/>
                        </a:rPr>
                        <a:t>21,537</a:t>
                      </a:r>
                    </a:p>
                  </a:txBody>
                  <a:tcPr marL="9525" marR="9525" marT="9525" marB="0" anchor="ctr"/>
                </a:tc>
                <a:extLst>
                  <a:ext uri="{0D108BD9-81ED-4DB2-BD59-A6C34878D82A}">
                    <a16:rowId xmlns:a16="http://schemas.microsoft.com/office/drawing/2014/main" val="356339621"/>
                  </a:ext>
                </a:extLst>
              </a:tr>
              <a:tr h="523776">
                <a:tc>
                  <a:txBody>
                    <a:bodyPr/>
                    <a:lstStyle/>
                    <a:p>
                      <a:pPr algn="l" fontAlgn="b"/>
                      <a:r>
                        <a:rPr lang="en-US" sz="1400" b="0" i="0" u="none" strike="noStrike">
                          <a:solidFill>
                            <a:srgbClr val="000000"/>
                          </a:solidFill>
                          <a:effectLst/>
                          <a:latin typeface="+mn-lt"/>
                          <a:cs typeface="Kanit ExtraLight" panose="00000300000000000000" pitchFamily="50" charset="-34"/>
                        </a:rPr>
                        <a:t>Percent of Emergency Care</a:t>
                      </a:r>
                    </a:p>
                  </a:txBody>
                  <a:tcPr marL="9525" marR="9525" marT="9525" marB="0" anchor="b"/>
                </a:tc>
                <a:tc>
                  <a:txBody>
                    <a:bodyPr/>
                    <a:lstStyle/>
                    <a:p>
                      <a:pPr algn="ctr" fontAlgn="b"/>
                      <a:r>
                        <a:rPr lang="en-US" sz="1400" b="0" i="0" u="none" strike="noStrike">
                          <a:solidFill>
                            <a:srgbClr val="000000"/>
                          </a:solidFill>
                          <a:effectLst/>
                          <a:latin typeface="+mn-lt"/>
                          <a:cs typeface="Kanit ExtraLight" panose="00000300000000000000" pitchFamily="50" charset="-34"/>
                        </a:rPr>
                        <a:t>8.7%</a:t>
                      </a:r>
                    </a:p>
                  </a:txBody>
                  <a:tcPr marL="9525" marR="9525" marT="9525" marB="0" anchor="ctr"/>
                </a:tc>
                <a:tc>
                  <a:txBody>
                    <a:bodyPr/>
                    <a:lstStyle/>
                    <a:p>
                      <a:pPr algn="ctr" fontAlgn="b"/>
                      <a:r>
                        <a:rPr lang="en-US" sz="1400" b="0" i="0" u="none" strike="noStrike">
                          <a:solidFill>
                            <a:srgbClr val="000000"/>
                          </a:solidFill>
                          <a:effectLst/>
                          <a:latin typeface="+mn-lt"/>
                          <a:cs typeface="Kanit ExtraLight" panose="00000300000000000000" pitchFamily="50" charset="-34"/>
                        </a:rPr>
                        <a:t>3%</a:t>
                      </a: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fontAlgn="b"/>
                      <a:r>
                        <a:rPr lang="en-US" sz="1400" b="0" i="0" u="none" strike="noStrike">
                          <a:solidFill>
                            <a:schemeClr val="bg1"/>
                          </a:solidFill>
                          <a:effectLst/>
                          <a:latin typeface="+mn-lt"/>
                          <a:cs typeface="Kanit ExtraLight" panose="00000300000000000000" pitchFamily="50" charset="-34"/>
                        </a:rPr>
                        <a:t>1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1"/>
                      <a:tileRect/>
                    </a:gradFill>
                  </a:tcPr>
                </a:tc>
                <a:tc>
                  <a:txBody>
                    <a:bodyPr/>
                    <a:lstStyle/>
                    <a:p>
                      <a:pPr algn="ctr" fontAlgn="b"/>
                      <a:r>
                        <a:rPr lang="en-US" sz="1400" b="0" i="0" u="none" strike="noStrike">
                          <a:solidFill>
                            <a:srgbClr val="000000"/>
                          </a:solidFill>
                          <a:effectLst/>
                          <a:latin typeface="+mn-lt"/>
                          <a:cs typeface="Kanit ExtraLight" panose="00000300000000000000" pitchFamily="50" charset="-34"/>
                        </a:rPr>
                        <a:t>12.5%* </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fontAlgn="b"/>
                      <a:r>
                        <a:rPr lang="en-US" sz="1400" b="0" i="0" u="none" strike="noStrike">
                          <a:solidFill>
                            <a:srgbClr val="000000"/>
                          </a:solidFill>
                          <a:effectLst/>
                          <a:latin typeface="+mn-lt"/>
                          <a:cs typeface="Kanit ExtraLight" panose="00000300000000000000" pitchFamily="50" charset="-34"/>
                        </a:rPr>
                        <a:t>5%</a:t>
                      </a:r>
                    </a:p>
                  </a:txBody>
                  <a:tcPr marL="9525" marR="9525" marT="9525" marB="0" anchor="ctr"/>
                </a:tc>
                <a:tc>
                  <a:txBody>
                    <a:bodyPr/>
                    <a:lstStyle/>
                    <a:p>
                      <a:pPr algn="ctr" fontAlgn="b"/>
                      <a:r>
                        <a:rPr lang="en-US" sz="1400" b="0" i="0" u="none" strike="noStrike" dirty="0">
                          <a:solidFill>
                            <a:srgbClr val="000000"/>
                          </a:solidFill>
                          <a:effectLst/>
                          <a:latin typeface="+mn-lt"/>
                          <a:cs typeface="Kanit ExtraLight" panose="00000300000000000000" pitchFamily="50" charset="-34"/>
                        </a:rPr>
                        <a:t>5.5%</a:t>
                      </a:r>
                    </a:p>
                  </a:txBody>
                  <a:tcPr marL="9525" marR="9525" marT="9525" marB="0" anchor="ctr"/>
                </a:tc>
                <a:extLst>
                  <a:ext uri="{0D108BD9-81ED-4DB2-BD59-A6C34878D82A}">
                    <a16:rowId xmlns:a16="http://schemas.microsoft.com/office/drawing/2014/main" val="2328404240"/>
                  </a:ext>
                </a:extLst>
              </a:tr>
              <a:tr h="523776">
                <a:tc>
                  <a:txBody>
                    <a:bodyPr/>
                    <a:lstStyle/>
                    <a:p>
                      <a:pPr algn="l" fontAlgn="b"/>
                      <a:r>
                        <a:rPr lang="en-US" sz="1400" b="0" i="0" u="none" strike="noStrike" dirty="0">
                          <a:solidFill>
                            <a:srgbClr val="000000"/>
                          </a:solidFill>
                          <a:effectLst/>
                          <a:latin typeface="+mn-lt"/>
                          <a:cs typeface="Kanit ExtraLight" panose="00000300000000000000" pitchFamily="50" charset="-34"/>
                        </a:rPr>
                        <a:t>Percentage of Inpatient Care </a:t>
                      </a:r>
                    </a:p>
                  </a:txBody>
                  <a:tcPr marL="9525" marR="9525" marT="9525" marB="0" anchor="b"/>
                </a:tc>
                <a:tc>
                  <a:txBody>
                    <a:bodyPr/>
                    <a:lstStyle/>
                    <a:p>
                      <a:pPr algn="ctr" fontAlgn="b"/>
                      <a:r>
                        <a:rPr lang="en-US" sz="1400" b="0" i="0" u="none" strike="noStrike">
                          <a:solidFill>
                            <a:srgbClr val="000000"/>
                          </a:solidFill>
                          <a:effectLst/>
                          <a:latin typeface="+mn-lt"/>
                          <a:cs typeface="Kanit ExtraLight" panose="00000300000000000000" pitchFamily="50" charset="-34"/>
                        </a:rPr>
                        <a:t>3.9%</a:t>
                      </a:r>
                    </a:p>
                  </a:txBody>
                  <a:tcPr marL="9525" marR="9525" marT="9525" marB="0" anchor="ctr"/>
                </a:tc>
                <a:tc>
                  <a:txBody>
                    <a:bodyPr/>
                    <a:lstStyle/>
                    <a:p>
                      <a:pPr algn="ctr" fontAlgn="b"/>
                      <a:r>
                        <a:rPr lang="en-US" sz="1400" b="0" i="0" u="none" strike="noStrike">
                          <a:solidFill>
                            <a:srgbClr val="000000"/>
                          </a:solidFill>
                          <a:effectLst/>
                          <a:latin typeface="+mn-lt"/>
                          <a:cs typeface="Kanit ExtraLight" panose="00000300000000000000" pitchFamily="50" charset="-34"/>
                        </a:rPr>
                        <a:t>2.8%</a:t>
                      </a: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fontAlgn="b"/>
                      <a:r>
                        <a:rPr lang="en-US" sz="1400" b="0" i="0" u="none" strike="noStrike">
                          <a:solidFill>
                            <a:schemeClr val="bg1"/>
                          </a:solidFill>
                          <a:effectLst/>
                          <a:latin typeface="+mn-lt"/>
                          <a:cs typeface="Kanit ExtraLight" panose="00000300000000000000" pitchFamily="50" charset="-34"/>
                        </a:rPr>
                        <a:t>5.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1"/>
                      <a:tileRect/>
                    </a:gradFill>
                  </a:tcPr>
                </a:tc>
                <a:tc>
                  <a:txBody>
                    <a:bodyPr/>
                    <a:lstStyle/>
                    <a:p>
                      <a:pPr algn="ctr" fontAlgn="b"/>
                      <a:r>
                        <a:rPr lang="en-US" sz="1400" b="0" i="0" u="none" strike="noStrike" dirty="0">
                          <a:solidFill>
                            <a:srgbClr val="000000"/>
                          </a:solidFill>
                          <a:effectLst/>
                          <a:latin typeface="+mn-lt"/>
                          <a:cs typeface="Kanit ExtraLight" panose="00000300000000000000" pitchFamily="50" charset="-34"/>
                        </a:rPr>
                        <a:t>4.2%*</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fontAlgn="b"/>
                      <a:r>
                        <a:rPr lang="en-US" sz="1400" b="0" i="0" u="none" strike="noStrike">
                          <a:solidFill>
                            <a:srgbClr val="000000"/>
                          </a:solidFill>
                          <a:effectLst/>
                          <a:latin typeface="+mn-lt"/>
                          <a:cs typeface="Kanit ExtraLight" panose="00000300000000000000" pitchFamily="50" charset="-34"/>
                        </a:rPr>
                        <a:t>2.9%</a:t>
                      </a:r>
                    </a:p>
                  </a:txBody>
                  <a:tcPr marL="9525" marR="9525" marT="9525" marB="0" anchor="ctr"/>
                </a:tc>
                <a:tc>
                  <a:txBody>
                    <a:bodyPr/>
                    <a:lstStyle/>
                    <a:p>
                      <a:pPr algn="ctr" fontAlgn="b"/>
                      <a:r>
                        <a:rPr lang="en-US" sz="1400" b="0" i="0" u="none" strike="noStrike" dirty="0">
                          <a:solidFill>
                            <a:srgbClr val="000000"/>
                          </a:solidFill>
                          <a:effectLst/>
                          <a:latin typeface="+mn-lt"/>
                          <a:cs typeface="Kanit ExtraLight" panose="00000300000000000000" pitchFamily="50" charset="-34"/>
                        </a:rPr>
                        <a:t>3.1%</a:t>
                      </a:r>
                    </a:p>
                  </a:txBody>
                  <a:tcPr marL="9525" marR="9525" marT="9525" marB="0" anchor="ctr"/>
                </a:tc>
                <a:extLst>
                  <a:ext uri="{0D108BD9-81ED-4DB2-BD59-A6C34878D82A}">
                    <a16:rowId xmlns:a16="http://schemas.microsoft.com/office/drawing/2014/main" val="3263725383"/>
                  </a:ext>
                </a:extLst>
              </a:tr>
            </a:tbl>
          </a:graphicData>
        </a:graphic>
      </p:graphicFrame>
      <p:sp>
        <p:nvSpPr>
          <p:cNvPr id="6" name="Text Placeholder 3">
            <a:extLst>
              <a:ext uri="{FF2B5EF4-FFF2-40B4-BE49-F238E27FC236}">
                <a16:creationId xmlns:a16="http://schemas.microsoft.com/office/drawing/2014/main" id="{F035A5A1-77B4-1E94-8D24-B4EA86B88674}"/>
              </a:ext>
            </a:extLst>
          </p:cNvPr>
          <p:cNvSpPr txBox="1">
            <a:spLocks/>
          </p:cNvSpPr>
          <p:nvPr/>
        </p:nvSpPr>
        <p:spPr>
          <a:xfrm>
            <a:off x="287943" y="867858"/>
            <a:ext cx="11072132" cy="313378"/>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b="0" i="0" kern="1200" cap="all" baseline="0">
                <a:solidFill>
                  <a:schemeClr val="accent2"/>
                </a:solidFill>
                <a:latin typeface="Kanit Thin" pitchFamily="2" charset="-34"/>
                <a:ea typeface="+mn-ea"/>
                <a:cs typeface="Kanit Thin" pitchFamily="2" charset="-34"/>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1400" b="0" i="0" u="none" strike="noStrike" kern="1200" cap="all" spc="0" normalizeH="0" baseline="0" noProof="0">
              <a:ln>
                <a:noFill/>
              </a:ln>
              <a:solidFill>
                <a:srgbClr val="FFFFFF"/>
              </a:solidFill>
              <a:effectLst/>
              <a:uLnTx/>
              <a:uFillTx/>
              <a:latin typeface="Kanit ExtraLight"/>
              <a:ea typeface="+mn-ea"/>
              <a:cs typeface="Kanit Thin" pitchFamily="2" charset="-34"/>
            </a:endParaRPr>
          </a:p>
        </p:txBody>
      </p:sp>
    </p:spTree>
    <p:extLst>
      <p:ext uri="{BB962C8B-B14F-4D97-AF65-F5344CB8AC3E}">
        <p14:creationId xmlns:p14="http://schemas.microsoft.com/office/powerpoint/2010/main" val="10625170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hart 6">
            <a:extLst>
              <a:ext uri="{FF2B5EF4-FFF2-40B4-BE49-F238E27FC236}">
                <a16:creationId xmlns:a16="http://schemas.microsoft.com/office/drawing/2014/main" id="{BABB6EF9-7BA7-9E45-BE6C-93E0E01F0887}"/>
              </a:ext>
            </a:extLst>
          </p:cNvPr>
          <p:cNvGraphicFramePr>
            <a:graphicFrameLocks/>
          </p:cNvGraphicFramePr>
          <p:nvPr>
            <p:extLst>
              <p:ext uri="{D42A27DB-BD31-4B8C-83A1-F6EECF244321}">
                <p14:modId xmlns:p14="http://schemas.microsoft.com/office/powerpoint/2010/main" val="1088859809"/>
              </p:ext>
            </p:extLst>
          </p:nvPr>
        </p:nvGraphicFramePr>
        <p:xfrm>
          <a:off x="287943" y="1453501"/>
          <a:ext cx="11468628" cy="4523447"/>
        </p:xfrm>
        <a:graphic>
          <a:graphicData uri="http://schemas.openxmlformats.org/drawingml/2006/chart">
            <c:chart xmlns:c="http://schemas.openxmlformats.org/drawingml/2006/chart" xmlns:r="http://schemas.openxmlformats.org/officeDocument/2006/relationships" r:id="rId3"/>
          </a:graphicData>
        </a:graphic>
      </p:graphicFrame>
      <p:sp>
        <p:nvSpPr>
          <p:cNvPr id="2" name="Text Placeholder 1">
            <a:extLst>
              <a:ext uri="{FF2B5EF4-FFF2-40B4-BE49-F238E27FC236}">
                <a16:creationId xmlns:a16="http://schemas.microsoft.com/office/drawing/2014/main" id="{6DB92764-683E-C1F3-F0D8-749DF4FED3F0}"/>
              </a:ext>
            </a:extLst>
          </p:cNvPr>
          <p:cNvSpPr>
            <a:spLocks noGrp="1"/>
          </p:cNvSpPr>
          <p:nvPr>
            <p:ph type="body" sz="quarter" idx="10"/>
          </p:nvPr>
        </p:nvSpPr>
        <p:spPr/>
        <p:txBody>
          <a:bodyPr/>
          <a:lstStyle/>
          <a:p>
            <a:r>
              <a:rPr lang="en-US" sz="1800" dirty="0"/>
              <a:t>By Document Size</a:t>
            </a:r>
          </a:p>
        </p:txBody>
      </p:sp>
      <p:sp>
        <p:nvSpPr>
          <p:cNvPr id="4" name="Title 3">
            <a:extLst>
              <a:ext uri="{FF2B5EF4-FFF2-40B4-BE49-F238E27FC236}">
                <a16:creationId xmlns:a16="http://schemas.microsoft.com/office/drawing/2014/main" id="{B684E7B3-B244-28B9-768D-79141F149540}"/>
              </a:ext>
            </a:extLst>
          </p:cNvPr>
          <p:cNvSpPr>
            <a:spLocks noGrp="1"/>
          </p:cNvSpPr>
          <p:nvPr>
            <p:ph type="title"/>
          </p:nvPr>
        </p:nvSpPr>
        <p:spPr>
          <a:xfrm>
            <a:off x="913763" y="173763"/>
            <a:ext cx="4565179" cy="1414577"/>
          </a:xfrm>
        </p:spPr>
        <p:txBody>
          <a:bodyPr/>
          <a:lstStyle/>
          <a:p>
            <a:r>
              <a:rPr lang="en-US" sz="4000" dirty="0"/>
              <a:t>Racial Variation in Data Quality</a:t>
            </a:r>
          </a:p>
        </p:txBody>
      </p:sp>
      <p:graphicFrame>
        <p:nvGraphicFramePr>
          <p:cNvPr id="16" name="Chart 15">
            <a:extLst>
              <a:ext uri="{FF2B5EF4-FFF2-40B4-BE49-F238E27FC236}">
                <a16:creationId xmlns:a16="http://schemas.microsoft.com/office/drawing/2014/main" id="{FC3C9C46-27DD-D2E6-9C3F-F4D61095EAC0}"/>
              </a:ext>
            </a:extLst>
          </p:cNvPr>
          <p:cNvGraphicFramePr>
            <a:graphicFrameLocks/>
          </p:cNvGraphicFramePr>
          <p:nvPr>
            <p:extLst>
              <p:ext uri="{D42A27DB-BD31-4B8C-83A1-F6EECF244321}">
                <p14:modId xmlns:p14="http://schemas.microsoft.com/office/powerpoint/2010/main" val="4277694663"/>
              </p:ext>
            </p:extLst>
          </p:nvPr>
        </p:nvGraphicFramePr>
        <p:xfrm>
          <a:off x="5415242" y="0"/>
          <a:ext cx="4928503" cy="1703578"/>
        </p:xfrm>
        <a:graphic>
          <a:graphicData uri="http://schemas.openxmlformats.org/drawingml/2006/chart">
            <c:chart xmlns:c="http://schemas.openxmlformats.org/drawingml/2006/chart" xmlns:r="http://schemas.openxmlformats.org/officeDocument/2006/relationships" r:id="rId4"/>
          </a:graphicData>
        </a:graphic>
      </p:graphicFrame>
      <p:sp>
        <p:nvSpPr>
          <p:cNvPr id="17" name="TextBox 16">
            <a:extLst>
              <a:ext uri="{FF2B5EF4-FFF2-40B4-BE49-F238E27FC236}">
                <a16:creationId xmlns:a16="http://schemas.microsoft.com/office/drawing/2014/main" id="{0167ED30-BF66-E4B0-8AFB-924929C4C922}"/>
              </a:ext>
            </a:extLst>
          </p:cNvPr>
          <p:cNvSpPr txBox="1"/>
          <p:nvPr/>
        </p:nvSpPr>
        <p:spPr>
          <a:xfrm>
            <a:off x="1745225" y="5877923"/>
            <a:ext cx="8952445" cy="646331"/>
          </a:xfrm>
          <a:prstGeom prst="rect">
            <a:avLst/>
          </a:prstGeom>
          <a:noFill/>
        </p:spPr>
        <p:txBody>
          <a:bodyPr wrap="square" rtlCol="0">
            <a:spAutoFit/>
          </a:bodyPr>
          <a:lstStyle/>
          <a:p>
            <a:pPr algn="ctr"/>
            <a:r>
              <a:rPr lang="en-US" dirty="0">
                <a:solidFill>
                  <a:schemeClr val="bg2"/>
                </a:solidFill>
                <a:latin typeface="+mj-lt"/>
              </a:rPr>
              <a:t>p&lt;0.001 on Kruskal-Wallis testing, indicating statistically significant differences between races in violations when indexed by file size, verified statistically significant in post hoc analysis</a:t>
            </a:r>
          </a:p>
        </p:txBody>
      </p:sp>
    </p:spTree>
    <p:extLst>
      <p:ext uri="{BB962C8B-B14F-4D97-AF65-F5344CB8AC3E}">
        <p14:creationId xmlns:p14="http://schemas.microsoft.com/office/powerpoint/2010/main" val="2412485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F24B36-0C4E-DAB4-E10D-3B03D5A85F60}"/>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E96946E8-8EF8-C607-2827-4DB84CC4048D}"/>
              </a:ext>
            </a:extLst>
          </p:cNvPr>
          <p:cNvSpPr>
            <a:spLocks noGrp="1"/>
          </p:cNvSpPr>
          <p:nvPr>
            <p:ph type="title"/>
          </p:nvPr>
        </p:nvSpPr>
        <p:spPr/>
        <p:txBody>
          <a:bodyPr/>
          <a:lstStyle/>
          <a:p>
            <a:r>
              <a:rPr lang="en-US" sz="4000" dirty="0"/>
              <a:t>Ethnicity variation in Document Quality</a:t>
            </a:r>
          </a:p>
        </p:txBody>
      </p:sp>
      <p:sp>
        <p:nvSpPr>
          <p:cNvPr id="9" name="TextBox 8">
            <a:extLst>
              <a:ext uri="{FF2B5EF4-FFF2-40B4-BE49-F238E27FC236}">
                <a16:creationId xmlns:a16="http://schemas.microsoft.com/office/drawing/2014/main" id="{4EA2E016-E4CF-D86D-796F-7CD725CD3423}"/>
              </a:ext>
            </a:extLst>
          </p:cNvPr>
          <p:cNvSpPr txBox="1"/>
          <p:nvPr/>
        </p:nvSpPr>
        <p:spPr>
          <a:xfrm>
            <a:off x="1745226" y="5867757"/>
            <a:ext cx="8701548" cy="646331"/>
          </a:xfrm>
          <a:prstGeom prst="rect">
            <a:avLst/>
          </a:prstGeom>
          <a:noFill/>
        </p:spPr>
        <p:txBody>
          <a:bodyPr wrap="square" rtlCol="0">
            <a:spAutoFit/>
          </a:bodyPr>
          <a:lstStyle/>
          <a:p>
            <a:pPr algn="ctr"/>
            <a:r>
              <a:rPr lang="en-US" dirty="0">
                <a:solidFill>
                  <a:schemeClr val="bg2"/>
                </a:solidFill>
                <a:latin typeface="+mj-lt"/>
              </a:rPr>
              <a:t>p&lt;0.001 on Kruskal-Wallis testing, indicating statistically significant differences between ethnicities in violations when indexed by file size </a:t>
            </a:r>
          </a:p>
        </p:txBody>
      </p:sp>
      <p:graphicFrame>
        <p:nvGraphicFramePr>
          <p:cNvPr id="10" name="Chart 9">
            <a:extLst>
              <a:ext uri="{FF2B5EF4-FFF2-40B4-BE49-F238E27FC236}">
                <a16:creationId xmlns:a16="http://schemas.microsoft.com/office/drawing/2014/main" id="{9583AC25-9B85-AD1C-9266-945819D2BB5B}"/>
              </a:ext>
            </a:extLst>
          </p:cNvPr>
          <p:cNvGraphicFramePr>
            <a:graphicFrameLocks/>
          </p:cNvGraphicFramePr>
          <p:nvPr>
            <p:extLst>
              <p:ext uri="{D42A27DB-BD31-4B8C-83A1-F6EECF244321}">
                <p14:modId xmlns:p14="http://schemas.microsoft.com/office/powerpoint/2010/main" val="2510413428"/>
              </p:ext>
            </p:extLst>
          </p:nvPr>
        </p:nvGraphicFramePr>
        <p:xfrm>
          <a:off x="287943" y="1511907"/>
          <a:ext cx="5808057" cy="426595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1" name="Chart 10">
            <a:extLst>
              <a:ext uri="{FF2B5EF4-FFF2-40B4-BE49-F238E27FC236}">
                <a16:creationId xmlns:a16="http://schemas.microsoft.com/office/drawing/2014/main" id="{5E9EA03C-9F19-14F1-671A-2A57313D0746}"/>
              </a:ext>
            </a:extLst>
          </p:cNvPr>
          <p:cNvGraphicFramePr>
            <a:graphicFrameLocks/>
          </p:cNvGraphicFramePr>
          <p:nvPr>
            <p:extLst>
              <p:ext uri="{D42A27DB-BD31-4B8C-83A1-F6EECF244321}">
                <p14:modId xmlns:p14="http://schemas.microsoft.com/office/powerpoint/2010/main" val="2639195415"/>
              </p:ext>
            </p:extLst>
          </p:nvPr>
        </p:nvGraphicFramePr>
        <p:xfrm>
          <a:off x="6095999" y="1511907"/>
          <a:ext cx="5808056" cy="426595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347171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748ABC-CBED-0422-4278-48A6BA737269}"/>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B1756848-7EB3-620D-9A7F-E46C2518B7CD}"/>
              </a:ext>
            </a:extLst>
          </p:cNvPr>
          <p:cNvSpPr>
            <a:spLocks noGrp="1"/>
          </p:cNvSpPr>
          <p:nvPr>
            <p:ph type="title"/>
          </p:nvPr>
        </p:nvSpPr>
        <p:spPr/>
        <p:txBody>
          <a:bodyPr/>
          <a:lstStyle/>
          <a:p>
            <a:r>
              <a:rPr lang="en-US" sz="4000" dirty="0"/>
              <a:t>Language variation in Document Quality</a:t>
            </a:r>
          </a:p>
        </p:txBody>
      </p:sp>
      <p:sp>
        <p:nvSpPr>
          <p:cNvPr id="9" name="TextBox 8">
            <a:extLst>
              <a:ext uri="{FF2B5EF4-FFF2-40B4-BE49-F238E27FC236}">
                <a16:creationId xmlns:a16="http://schemas.microsoft.com/office/drawing/2014/main" id="{3D01C4DB-85BE-383F-7159-E428BD89E133}"/>
              </a:ext>
            </a:extLst>
          </p:cNvPr>
          <p:cNvSpPr txBox="1"/>
          <p:nvPr/>
        </p:nvSpPr>
        <p:spPr>
          <a:xfrm>
            <a:off x="1745226" y="5867757"/>
            <a:ext cx="8701548" cy="646331"/>
          </a:xfrm>
          <a:prstGeom prst="rect">
            <a:avLst/>
          </a:prstGeom>
          <a:noFill/>
        </p:spPr>
        <p:txBody>
          <a:bodyPr wrap="square" rtlCol="0">
            <a:spAutoFit/>
          </a:bodyPr>
          <a:lstStyle/>
          <a:p>
            <a:pPr algn="ctr"/>
            <a:r>
              <a:rPr lang="en-US" dirty="0">
                <a:solidFill>
                  <a:schemeClr val="bg2"/>
                </a:solidFill>
                <a:latin typeface="+mj-lt"/>
              </a:rPr>
              <a:t>p&lt;0.001 on Kruskal-Wallis testing, indicating statistically significant differences between language spoken in violations when indexed by file size </a:t>
            </a:r>
          </a:p>
        </p:txBody>
      </p:sp>
      <p:graphicFrame>
        <p:nvGraphicFramePr>
          <p:cNvPr id="2" name="Chart 1">
            <a:extLst>
              <a:ext uri="{FF2B5EF4-FFF2-40B4-BE49-F238E27FC236}">
                <a16:creationId xmlns:a16="http://schemas.microsoft.com/office/drawing/2014/main" id="{EF5758B5-142F-9EF6-B00D-76FF386843BB}"/>
              </a:ext>
            </a:extLst>
          </p:cNvPr>
          <p:cNvGraphicFramePr>
            <a:graphicFrameLocks/>
          </p:cNvGraphicFramePr>
          <p:nvPr>
            <p:extLst>
              <p:ext uri="{D42A27DB-BD31-4B8C-83A1-F6EECF244321}">
                <p14:modId xmlns:p14="http://schemas.microsoft.com/office/powerpoint/2010/main" val="1393259556"/>
              </p:ext>
            </p:extLst>
          </p:nvPr>
        </p:nvGraphicFramePr>
        <p:xfrm>
          <a:off x="176264" y="1583971"/>
          <a:ext cx="5919736" cy="421006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Chart 2">
            <a:extLst>
              <a:ext uri="{FF2B5EF4-FFF2-40B4-BE49-F238E27FC236}">
                <a16:creationId xmlns:a16="http://schemas.microsoft.com/office/drawing/2014/main" id="{8DF10454-49F5-4702-DBDE-25A8442229E1}"/>
              </a:ext>
            </a:extLst>
          </p:cNvPr>
          <p:cNvGraphicFramePr>
            <a:graphicFrameLocks/>
          </p:cNvGraphicFramePr>
          <p:nvPr>
            <p:extLst>
              <p:ext uri="{D42A27DB-BD31-4B8C-83A1-F6EECF244321}">
                <p14:modId xmlns:p14="http://schemas.microsoft.com/office/powerpoint/2010/main" val="524517989"/>
              </p:ext>
            </p:extLst>
          </p:nvPr>
        </p:nvGraphicFramePr>
        <p:xfrm>
          <a:off x="6095999" y="1583969"/>
          <a:ext cx="5919736" cy="4061493"/>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394415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307BE8-21A7-3ACF-31D8-AA56B9A41AC1}"/>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733C23E3-FD86-BA4E-45C2-C7ADFD4A0C7D}"/>
              </a:ext>
            </a:extLst>
          </p:cNvPr>
          <p:cNvSpPr>
            <a:spLocks noGrp="1"/>
          </p:cNvSpPr>
          <p:nvPr>
            <p:ph type="title"/>
          </p:nvPr>
        </p:nvSpPr>
        <p:spPr/>
        <p:txBody>
          <a:bodyPr/>
          <a:lstStyle/>
          <a:p>
            <a:r>
              <a:rPr lang="en-US" sz="4000" dirty="0"/>
              <a:t>Age-based variation in Document Quality</a:t>
            </a:r>
          </a:p>
        </p:txBody>
      </p:sp>
      <p:sp>
        <p:nvSpPr>
          <p:cNvPr id="9" name="TextBox 8">
            <a:extLst>
              <a:ext uri="{FF2B5EF4-FFF2-40B4-BE49-F238E27FC236}">
                <a16:creationId xmlns:a16="http://schemas.microsoft.com/office/drawing/2014/main" id="{A4AD93B4-8B41-B9C9-EF5C-23FF316BC273}"/>
              </a:ext>
            </a:extLst>
          </p:cNvPr>
          <p:cNvSpPr txBox="1"/>
          <p:nvPr/>
        </p:nvSpPr>
        <p:spPr>
          <a:xfrm>
            <a:off x="1745226" y="5867757"/>
            <a:ext cx="8701548" cy="646331"/>
          </a:xfrm>
          <a:prstGeom prst="rect">
            <a:avLst/>
          </a:prstGeom>
          <a:noFill/>
        </p:spPr>
        <p:txBody>
          <a:bodyPr wrap="square" rtlCol="0">
            <a:spAutoFit/>
          </a:bodyPr>
          <a:lstStyle/>
          <a:p>
            <a:pPr algn="ctr"/>
            <a:r>
              <a:rPr lang="en-US" dirty="0">
                <a:solidFill>
                  <a:schemeClr val="bg2"/>
                </a:solidFill>
                <a:latin typeface="+mj-lt"/>
              </a:rPr>
              <a:t>p&lt;0.001 on Kruskal-Wallis testing, indicating statistically significant differences between age in violations when indexed by file size </a:t>
            </a:r>
          </a:p>
        </p:txBody>
      </p:sp>
      <p:graphicFrame>
        <p:nvGraphicFramePr>
          <p:cNvPr id="5" name="Chart 4">
            <a:extLst>
              <a:ext uri="{FF2B5EF4-FFF2-40B4-BE49-F238E27FC236}">
                <a16:creationId xmlns:a16="http://schemas.microsoft.com/office/drawing/2014/main" id="{78502BE0-CB32-CCCC-7E2D-1AEFCD5777AF}"/>
              </a:ext>
            </a:extLst>
          </p:cNvPr>
          <p:cNvGraphicFramePr>
            <a:graphicFrameLocks/>
          </p:cNvGraphicFramePr>
          <p:nvPr>
            <p:extLst>
              <p:ext uri="{D42A27DB-BD31-4B8C-83A1-F6EECF244321}">
                <p14:modId xmlns:p14="http://schemas.microsoft.com/office/powerpoint/2010/main" val="2366156025"/>
              </p:ext>
            </p:extLst>
          </p:nvPr>
        </p:nvGraphicFramePr>
        <p:xfrm>
          <a:off x="215114" y="1470042"/>
          <a:ext cx="5808057" cy="415703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Chart 5">
            <a:extLst>
              <a:ext uri="{FF2B5EF4-FFF2-40B4-BE49-F238E27FC236}">
                <a16:creationId xmlns:a16="http://schemas.microsoft.com/office/drawing/2014/main" id="{2D488FCB-FAAD-B3AE-6446-4A36FE1FB0EC}"/>
              </a:ext>
            </a:extLst>
          </p:cNvPr>
          <p:cNvGraphicFramePr>
            <a:graphicFrameLocks/>
          </p:cNvGraphicFramePr>
          <p:nvPr>
            <p:extLst>
              <p:ext uri="{D42A27DB-BD31-4B8C-83A1-F6EECF244321}">
                <p14:modId xmlns:p14="http://schemas.microsoft.com/office/powerpoint/2010/main" val="3518735591"/>
              </p:ext>
            </p:extLst>
          </p:nvPr>
        </p:nvGraphicFramePr>
        <p:xfrm>
          <a:off x="6023170" y="1491315"/>
          <a:ext cx="5808057" cy="413576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572191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54B381-543E-198A-84E1-3E8C151B2550}"/>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6822FD9B-F07E-CF05-83E9-61F89E839E6A}"/>
              </a:ext>
            </a:extLst>
          </p:cNvPr>
          <p:cNvSpPr>
            <a:spLocks noGrp="1"/>
          </p:cNvSpPr>
          <p:nvPr>
            <p:ph type="title"/>
          </p:nvPr>
        </p:nvSpPr>
        <p:spPr/>
        <p:txBody>
          <a:bodyPr/>
          <a:lstStyle/>
          <a:p>
            <a:r>
              <a:rPr lang="en-US" sz="4000" dirty="0"/>
              <a:t>Gender variation in Document Quality</a:t>
            </a:r>
          </a:p>
        </p:txBody>
      </p:sp>
      <p:sp>
        <p:nvSpPr>
          <p:cNvPr id="9" name="TextBox 8">
            <a:extLst>
              <a:ext uri="{FF2B5EF4-FFF2-40B4-BE49-F238E27FC236}">
                <a16:creationId xmlns:a16="http://schemas.microsoft.com/office/drawing/2014/main" id="{6507BC60-8B5A-5539-9C53-CDC999B76359}"/>
              </a:ext>
            </a:extLst>
          </p:cNvPr>
          <p:cNvSpPr txBox="1"/>
          <p:nvPr/>
        </p:nvSpPr>
        <p:spPr>
          <a:xfrm>
            <a:off x="1745226" y="5867757"/>
            <a:ext cx="8701548" cy="646331"/>
          </a:xfrm>
          <a:prstGeom prst="rect">
            <a:avLst/>
          </a:prstGeom>
          <a:noFill/>
        </p:spPr>
        <p:txBody>
          <a:bodyPr wrap="square" rtlCol="0">
            <a:spAutoFit/>
          </a:bodyPr>
          <a:lstStyle/>
          <a:p>
            <a:pPr algn="ctr"/>
            <a:r>
              <a:rPr lang="en-US" dirty="0">
                <a:solidFill>
                  <a:schemeClr val="bg2"/>
                </a:solidFill>
                <a:latin typeface="+mj-lt"/>
              </a:rPr>
              <a:t>p&lt;0.001 on Kruskal-Wallis testing, indicating statistically significant differences between gender in violations when indexed by file size </a:t>
            </a:r>
          </a:p>
        </p:txBody>
      </p:sp>
      <p:graphicFrame>
        <p:nvGraphicFramePr>
          <p:cNvPr id="2" name="Chart 1">
            <a:extLst>
              <a:ext uri="{FF2B5EF4-FFF2-40B4-BE49-F238E27FC236}">
                <a16:creationId xmlns:a16="http://schemas.microsoft.com/office/drawing/2014/main" id="{D4D05CAC-54C3-DB1B-122B-62B24EE5F0E1}"/>
              </a:ext>
            </a:extLst>
          </p:cNvPr>
          <p:cNvGraphicFramePr>
            <a:graphicFrameLocks/>
          </p:cNvGraphicFramePr>
          <p:nvPr>
            <p:extLst>
              <p:ext uri="{D42A27DB-BD31-4B8C-83A1-F6EECF244321}">
                <p14:modId xmlns:p14="http://schemas.microsoft.com/office/powerpoint/2010/main" val="3686369309"/>
              </p:ext>
            </p:extLst>
          </p:nvPr>
        </p:nvGraphicFramePr>
        <p:xfrm>
          <a:off x="223207" y="1443523"/>
          <a:ext cx="5808057" cy="421006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Chart 2">
            <a:extLst>
              <a:ext uri="{FF2B5EF4-FFF2-40B4-BE49-F238E27FC236}">
                <a16:creationId xmlns:a16="http://schemas.microsoft.com/office/drawing/2014/main" id="{2F9F6A80-2C4B-D421-5B36-D937E8198D6C}"/>
              </a:ext>
            </a:extLst>
          </p:cNvPr>
          <p:cNvGraphicFramePr>
            <a:graphicFrameLocks/>
          </p:cNvGraphicFramePr>
          <p:nvPr>
            <p:extLst>
              <p:ext uri="{D42A27DB-BD31-4B8C-83A1-F6EECF244321}">
                <p14:modId xmlns:p14="http://schemas.microsoft.com/office/powerpoint/2010/main" val="2965340719"/>
              </p:ext>
            </p:extLst>
          </p:nvPr>
        </p:nvGraphicFramePr>
        <p:xfrm>
          <a:off x="6031263" y="1443522"/>
          <a:ext cx="5808056" cy="4210069"/>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482720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F039F6-785A-6C00-F128-9A9CAC401DC4}"/>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2812EC26-412E-0DF2-C39E-FDE3A31A0016}"/>
              </a:ext>
            </a:extLst>
          </p:cNvPr>
          <p:cNvSpPr>
            <a:spLocks noGrp="1"/>
          </p:cNvSpPr>
          <p:nvPr>
            <p:ph type="title"/>
          </p:nvPr>
        </p:nvSpPr>
        <p:spPr/>
        <p:txBody>
          <a:bodyPr/>
          <a:lstStyle/>
          <a:p>
            <a:r>
              <a:rPr lang="en-US" sz="4000" dirty="0"/>
              <a:t>Religious variation in Document Quality</a:t>
            </a:r>
          </a:p>
        </p:txBody>
      </p:sp>
      <p:sp>
        <p:nvSpPr>
          <p:cNvPr id="9" name="TextBox 8">
            <a:extLst>
              <a:ext uri="{FF2B5EF4-FFF2-40B4-BE49-F238E27FC236}">
                <a16:creationId xmlns:a16="http://schemas.microsoft.com/office/drawing/2014/main" id="{F97F078D-D89A-CE4C-0D66-0DB863295A7E}"/>
              </a:ext>
            </a:extLst>
          </p:cNvPr>
          <p:cNvSpPr txBox="1"/>
          <p:nvPr/>
        </p:nvSpPr>
        <p:spPr>
          <a:xfrm>
            <a:off x="1745226" y="5867757"/>
            <a:ext cx="8701548" cy="646331"/>
          </a:xfrm>
          <a:prstGeom prst="rect">
            <a:avLst/>
          </a:prstGeom>
          <a:noFill/>
        </p:spPr>
        <p:txBody>
          <a:bodyPr wrap="square" rtlCol="0">
            <a:spAutoFit/>
          </a:bodyPr>
          <a:lstStyle/>
          <a:p>
            <a:pPr algn="ctr"/>
            <a:r>
              <a:rPr lang="en-US" dirty="0">
                <a:solidFill>
                  <a:schemeClr val="bg2"/>
                </a:solidFill>
                <a:latin typeface="+mj-lt"/>
              </a:rPr>
              <a:t>p&lt;0.001 on Kruskal-Wallis testing, indicating statistically significant differences between religion in violations when indexed by file size </a:t>
            </a:r>
          </a:p>
        </p:txBody>
      </p:sp>
      <p:graphicFrame>
        <p:nvGraphicFramePr>
          <p:cNvPr id="5" name="Chart 4">
            <a:extLst>
              <a:ext uri="{FF2B5EF4-FFF2-40B4-BE49-F238E27FC236}">
                <a16:creationId xmlns:a16="http://schemas.microsoft.com/office/drawing/2014/main" id="{398767D0-EB37-FB53-FB3A-9123F0D9C008}"/>
              </a:ext>
            </a:extLst>
          </p:cNvPr>
          <p:cNvGraphicFramePr>
            <a:graphicFrameLocks/>
          </p:cNvGraphicFramePr>
          <p:nvPr>
            <p:extLst>
              <p:ext uri="{D42A27DB-BD31-4B8C-83A1-F6EECF244321}">
                <p14:modId xmlns:p14="http://schemas.microsoft.com/office/powerpoint/2010/main" val="239049955"/>
              </p:ext>
            </p:extLst>
          </p:nvPr>
        </p:nvGraphicFramePr>
        <p:xfrm>
          <a:off x="287942" y="1681075"/>
          <a:ext cx="5808057" cy="406149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Chart 5">
            <a:extLst>
              <a:ext uri="{FF2B5EF4-FFF2-40B4-BE49-F238E27FC236}">
                <a16:creationId xmlns:a16="http://schemas.microsoft.com/office/drawing/2014/main" id="{D37C8FF0-FBE6-7967-30AE-0024772E2844}"/>
              </a:ext>
            </a:extLst>
          </p:cNvPr>
          <p:cNvGraphicFramePr>
            <a:graphicFrameLocks/>
          </p:cNvGraphicFramePr>
          <p:nvPr>
            <p:extLst>
              <p:ext uri="{D42A27DB-BD31-4B8C-83A1-F6EECF244321}">
                <p14:modId xmlns:p14="http://schemas.microsoft.com/office/powerpoint/2010/main" val="691469539"/>
              </p:ext>
            </p:extLst>
          </p:nvPr>
        </p:nvGraphicFramePr>
        <p:xfrm>
          <a:off x="6095998" y="1681075"/>
          <a:ext cx="5808057" cy="406149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2582458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5447D3-33B9-B6E5-3CEA-E9D34A4F734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55D70B2-EAAE-9587-3785-13CAADF5970E}"/>
              </a:ext>
            </a:extLst>
          </p:cNvPr>
          <p:cNvSpPr>
            <a:spLocks noGrp="1"/>
          </p:cNvSpPr>
          <p:nvPr>
            <p:ph type="ctrTitle"/>
          </p:nvPr>
        </p:nvSpPr>
        <p:spPr>
          <a:xfrm>
            <a:off x="476758" y="548331"/>
            <a:ext cx="10046381" cy="538586"/>
          </a:xfrm>
        </p:spPr>
        <p:txBody>
          <a:bodyPr>
            <a:normAutofit fontScale="90000"/>
          </a:bodyPr>
          <a:lstStyle/>
          <a:p>
            <a:pPr algn="l"/>
            <a:r>
              <a:rPr lang="en-US" dirty="0">
                <a:solidFill>
                  <a:schemeClr val="bg1"/>
                </a:solidFill>
                <a:latin typeface="Source Serif Pro" panose="02040603050405020204" pitchFamily="18" charset="0"/>
                <a:ea typeface="Source Serif Pro" panose="02040603050405020204" pitchFamily="18" charset="0"/>
              </a:rPr>
              <a:t>Changes You May Wish to Make in Practice</a:t>
            </a:r>
          </a:p>
        </p:txBody>
      </p:sp>
      <p:sp>
        <p:nvSpPr>
          <p:cNvPr id="6" name="Text Placeholder 2">
            <a:extLst>
              <a:ext uri="{FF2B5EF4-FFF2-40B4-BE49-F238E27FC236}">
                <a16:creationId xmlns:a16="http://schemas.microsoft.com/office/drawing/2014/main" id="{35C855FE-11F0-DE3E-5846-B3FA9BD69132}"/>
              </a:ext>
            </a:extLst>
          </p:cNvPr>
          <p:cNvSpPr txBox="1">
            <a:spLocks/>
          </p:cNvSpPr>
          <p:nvPr/>
        </p:nvSpPr>
        <p:spPr>
          <a:xfrm>
            <a:off x="476758" y="2564247"/>
            <a:ext cx="11216478" cy="3819368"/>
          </a:xfrm>
          <a:prstGeom prst="rect">
            <a:avLst/>
          </a:prstGeom>
        </p:spPr>
        <p:txBody>
          <a:bodyPr vert="horz" lIns="91440" tIns="45720" rIns="91440" bIns="45720" rtlCol="0" anchor="t">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lumMod val="65000"/>
                    <a:lumOff val="35000"/>
                  </a:schemeClr>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342900" indent="-342900" algn="l">
              <a:buFont typeface="Arial" panose="020B0604020202020204" pitchFamily="34" charset="0"/>
              <a:buChar char="•"/>
            </a:pPr>
            <a:r>
              <a:rPr lang="en-US" dirty="0">
                <a:solidFill>
                  <a:schemeClr val="bg1"/>
                </a:solidFill>
                <a:latin typeface="+mj-lt"/>
              </a:rPr>
              <a:t>Implement strategies to leverage automated tools for data management and analysis.</a:t>
            </a:r>
          </a:p>
          <a:p>
            <a:pPr marL="342900" indent="-342900" algn="l">
              <a:buFont typeface="Arial" panose="020B0604020202020204" pitchFamily="34" charset="0"/>
              <a:buChar char="•"/>
            </a:pPr>
            <a:r>
              <a:rPr lang="en-US" dirty="0">
                <a:solidFill>
                  <a:schemeClr val="bg1"/>
                </a:solidFill>
                <a:latin typeface="+mj-lt"/>
              </a:rPr>
              <a:t>Incorporate a holistic, data-agnostic approach to patient information to improve clinical decision-making beyond medical factors and into sociodemographic realms.</a:t>
            </a:r>
          </a:p>
          <a:p>
            <a:pPr marL="342900" indent="-342900" algn="l">
              <a:buFont typeface="Arial" panose="020B0604020202020204" pitchFamily="34" charset="0"/>
              <a:buChar char="•"/>
            </a:pPr>
            <a:r>
              <a:rPr lang="en-US" dirty="0">
                <a:solidFill>
                  <a:schemeClr val="bg1"/>
                </a:solidFill>
                <a:latin typeface="+mj-lt"/>
              </a:rPr>
              <a:t>Consider the adoption of innovative technologies to enhance diagnostic capabilities and patient care.</a:t>
            </a:r>
          </a:p>
        </p:txBody>
      </p:sp>
      <p:sp>
        <p:nvSpPr>
          <p:cNvPr id="10" name="TextBox 9">
            <a:extLst>
              <a:ext uri="{FF2B5EF4-FFF2-40B4-BE49-F238E27FC236}">
                <a16:creationId xmlns:a16="http://schemas.microsoft.com/office/drawing/2014/main" id="{5F960F62-D7BA-27AD-4FA2-EF9E44E97D24}"/>
              </a:ext>
            </a:extLst>
          </p:cNvPr>
          <p:cNvSpPr txBox="1"/>
          <p:nvPr/>
        </p:nvSpPr>
        <p:spPr>
          <a:xfrm>
            <a:off x="367145" y="1170536"/>
            <a:ext cx="10515600" cy="646331"/>
          </a:xfrm>
          <a:prstGeom prst="rect">
            <a:avLst/>
          </a:prstGeom>
          <a:noFill/>
        </p:spPr>
        <p:txBody>
          <a:bodyPr wrap="square">
            <a:spAutoFit/>
          </a:bodyPr>
          <a:lstStyle/>
          <a:p>
            <a:r>
              <a:rPr lang="en-US" sz="1800" dirty="0">
                <a:solidFill>
                  <a:schemeClr val="bg2"/>
                </a:solidFill>
                <a:latin typeface="+mj-lt"/>
              </a:rPr>
              <a:t>Achieving a Holistic View of Patient Information, Improving Patient Care and Driving Innovation in Healthcare Through Leveraging Clinical Data Agnostic of Source</a:t>
            </a:r>
            <a:endParaRPr lang="en-US" dirty="0">
              <a:solidFill>
                <a:schemeClr val="bg2"/>
              </a:solidFill>
              <a:latin typeface="+mj-lt"/>
            </a:endParaRPr>
          </a:p>
        </p:txBody>
      </p:sp>
    </p:spTree>
    <p:extLst>
      <p:ext uri="{BB962C8B-B14F-4D97-AF65-F5344CB8AC3E}">
        <p14:creationId xmlns:p14="http://schemas.microsoft.com/office/powerpoint/2010/main" val="12776988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A03C50-7A94-9C01-21D9-9BCCC7D90DDB}"/>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3FDC10F1-6881-7EB0-2976-E2A86952983A}"/>
              </a:ext>
            </a:extLst>
          </p:cNvPr>
          <p:cNvSpPr>
            <a:spLocks noGrp="1"/>
          </p:cNvSpPr>
          <p:nvPr>
            <p:ph type="body" sz="quarter" idx="10"/>
          </p:nvPr>
        </p:nvSpPr>
        <p:spPr/>
        <p:txBody>
          <a:bodyPr/>
          <a:lstStyle/>
          <a:p>
            <a:r>
              <a:rPr lang="en-US" sz="1800" dirty="0"/>
              <a:t>Data by Group is Available for Review and Part of Manuscript Submission</a:t>
            </a:r>
          </a:p>
          <a:p>
            <a:endParaRPr lang="en-US" dirty="0"/>
          </a:p>
          <a:p>
            <a:endParaRPr lang="en-US" dirty="0"/>
          </a:p>
        </p:txBody>
      </p:sp>
      <p:sp>
        <p:nvSpPr>
          <p:cNvPr id="5" name="Title 4">
            <a:extLst>
              <a:ext uri="{FF2B5EF4-FFF2-40B4-BE49-F238E27FC236}">
                <a16:creationId xmlns:a16="http://schemas.microsoft.com/office/drawing/2014/main" id="{5D0E706F-5D78-DF6D-9598-A20B93DEA0A2}"/>
              </a:ext>
            </a:extLst>
          </p:cNvPr>
          <p:cNvSpPr>
            <a:spLocks noGrp="1"/>
          </p:cNvSpPr>
          <p:nvPr>
            <p:ph type="title"/>
          </p:nvPr>
        </p:nvSpPr>
        <p:spPr>
          <a:xfrm>
            <a:off x="930949" y="368484"/>
            <a:ext cx="9545740" cy="1280948"/>
          </a:xfrm>
        </p:spPr>
        <p:txBody>
          <a:bodyPr/>
          <a:lstStyle/>
          <a:p>
            <a:r>
              <a:rPr lang="en-US" sz="4000" dirty="0"/>
              <a:t>Final Thoughts</a:t>
            </a:r>
            <a:br>
              <a:rPr lang="en-US" sz="4000" dirty="0"/>
            </a:br>
            <a:endParaRPr lang="en-US" sz="4000" dirty="0"/>
          </a:p>
        </p:txBody>
      </p:sp>
      <p:sp>
        <p:nvSpPr>
          <p:cNvPr id="6" name="Text Placeholder 3">
            <a:extLst>
              <a:ext uri="{FF2B5EF4-FFF2-40B4-BE49-F238E27FC236}">
                <a16:creationId xmlns:a16="http://schemas.microsoft.com/office/drawing/2014/main" id="{9BF29C87-1B04-23F3-5FFB-F428E4A1CA8E}"/>
              </a:ext>
            </a:extLst>
          </p:cNvPr>
          <p:cNvSpPr txBox="1">
            <a:spLocks/>
          </p:cNvSpPr>
          <p:nvPr/>
        </p:nvSpPr>
        <p:spPr>
          <a:xfrm>
            <a:off x="930949" y="1511725"/>
            <a:ext cx="10638199" cy="3657600"/>
          </a:xfrm>
          <a:prstGeom prst="rect">
            <a:avLst/>
          </a:prstGeom>
        </p:spPr>
        <p:txBody>
          <a:bodyPr/>
          <a:lstStyle>
            <a:lvl1pPr marL="285750" indent="-285750" algn="l" defTabSz="914400" rtl="0" eaLnBrk="1" latinLnBrk="0" hangingPunct="1">
              <a:lnSpc>
                <a:spcPct val="90000"/>
              </a:lnSpc>
              <a:spcBef>
                <a:spcPts val="384"/>
              </a:spcBef>
              <a:spcAft>
                <a:spcPts val="600"/>
              </a:spcAft>
              <a:buClr>
                <a:schemeClr val="accent1"/>
              </a:buClr>
              <a:buSzPct val="70000"/>
              <a:buFont typeface="System Font Regular"/>
              <a:buChar char="✛"/>
              <a:defRPr sz="2000" b="0" i="0" kern="1200" baseline="0">
                <a:solidFill>
                  <a:schemeClr val="accent4"/>
                </a:solidFill>
                <a:latin typeface="Kanit Light" pitchFamily="2" charset="-34"/>
                <a:ea typeface="+mn-ea"/>
                <a:cs typeface="Kanit Light" pitchFamily="2" charset="-34"/>
              </a:defRPr>
            </a:lvl1pPr>
            <a:lvl2pPr marL="742950" indent="-285750"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800" b="0" i="0" kern="1200" baseline="0">
                <a:solidFill>
                  <a:schemeClr val="accent4"/>
                </a:solidFill>
                <a:latin typeface="Kanit Light" pitchFamily="2" charset="-34"/>
                <a:ea typeface="+mn-ea"/>
                <a:cs typeface="Kanit Light" pitchFamily="2" charset="-34"/>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dirty="0">
                <a:latin typeface="+mj-lt"/>
              </a:rPr>
              <a:t>Data certification standards have not lived up to expectation</a:t>
            </a:r>
          </a:p>
          <a:p>
            <a:r>
              <a:rPr lang="en-US" b="1" dirty="0">
                <a:latin typeface="+mj-lt"/>
              </a:rPr>
              <a:t>Even in affluent countries health outcomes are not optimized</a:t>
            </a:r>
          </a:p>
          <a:p>
            <a:r>
              <a:rPr lang="en-US" b="1" dirty="0">
                <a:latin typeface="+mj-lt"/>
              </a:rPr>
              <a:t>We know that there are clear social factors that drive health outcomes in the United States</a:t>
            </a:r>
          </a:p>
          <a:p>
            <a:pPr lvl="1"/>
            <a:r>
              <a:rPr lang="en-US" b="1" dirty="0">
                <a:latin typeface="+mj-lt"/>
              </a:rPr>
              <a:t>30-55% of healthcare outcomes are related to social factors</a:t>
            </a:r>
          </a:p>
          <a:p>
            <a:r>
              <a:rPr lang="en-US" b="1" dirty="0">
                <a:latin typeface="+mj-lt"/>
              </a:rPr>
              <a:t>Those at risk for social marginalization have poor data capture</a:t>
            </a:r>
          </a:p>
          <a:p>
            <a:pPr lvl="1"/>
            <a:r>
              <a:rPr lang="en-US" b="1" dirty="0">
                <a:latin typeface="+mj-lt"/>
              </a:rPr>
              <a:t>Electronic medical records were designed initially as billing platforms and not to transact medical information for care</a:t>
            </a:r>
          </a:p>
          <a:p>
            <a:pPr lvl="1"/>
            <a:r>
              <a:rPr lang="en-US" b="1" dirty="0">
                <a:latin typeface="+mj-lt"/>
              </a:rPr>
              <a:t>Medical providers document for a myriad of reasons – medicolegal risk mitigation, billing, the belief that an intervention will yield outcomes</a:t>
            </a:r>
          </a:p>
          <a:p>
            <a:pPr lvl="1"/>
            <a:r>
              <a:rPr lang="en-US" b="1" dirty="0">
                <a:latin typeface="+mj-lt"/>
              </a:rPr>
              <a:t>Lack of longitudinal care – episodic, ER, hospital care</a:t>
            </a:r>
          </a:p>
          <a:p>
            <a:pPr lvl="1"/>
            <a:r>
              <a:rPr lang="en-US" b="1" dirty="0">
                <a:latin typeface="+mj-lt"/>
              </a:rPr>
              <a:t>Mistrust in primary care</a:t>
            </a:r>
          </a:p>
          <a:p>
            <a:pPr lvl="1"/>
            <a:r>
              <a:rPr lang="en-US" b="1" dirty="0">
                <a:latin typeface="+mj-lt"/>
              </a:rPr>
              <a:t>Lack of access and affordability</a:t>
            </a:r>
          </a:p>
          <a:p>
            <a:pPr lvl="1"/>
            <a:r>
              <a:rPr lang="en-US" b="1" dirty="0">
                <a:latin typeface="+mj-lt"/>
              </a:rPr>
              <a:t>Literacy and Numeracy but MORE IMPORTANTLY Health literacy and numeracy – patients need to be their own story tellers</a:t>
            </a:r>
          </a:p>
          <a:p>
            <a:r>
              <a:rPr lang="en-US" b="1" dirty="0">
                <a:latin typeface="+mj-lt"/>
              </a:rPr>
              <a:t>Technologies can help further identify those at risk and for whom intervention can be critical</a:t>
            </a:r>
            <a:endParaRPr lang="en-US" dirty="0">
              <a:latin typeface="+mj-lt"/>
            </a:endParaRPr>
          </a:p>
          <a:p>
            <a:pPr marL="742950" marR="0" lvl="1" indent="-285750" algn="l" defTabSz="914400" rtl="0" eaLnBrk="1" fontAlgn="auto" latinLnBrk="0" hangingPunct="1">
              <a:lnSpc>
                <a:spcPct val="90000"/>
              </a:lnSpc>
              <a:spcBef>
                <a:spcPts val="0"/>
              </a:spcBef>
              <a:spcAft>
                <a:spcPts val="600"/>
              </a:spcAft>
              <a:buClr>
                <a:srgbClr val="3D8C9C"/>
              </a:buClr>
              <a:buSzTx/>
              <a:buFont typeface="Arial" panose="020B0604020202020204" pitchFamily="34" charset="0"/>
              <a:buChar char="-"/>
              <a:tabLst/>
              <a:defRPr/>
            </a:pPr>
            <a:endParaRPr kumimoji="0" lang="en-US" sz="3200" b="0" i="0" u="none" strike="noStrike" kern="1200" cap="none" spc="0" normalizeH="0" baseline="0" noProof="0" dirty="0">
              <a:ln>
                <a:noFill/>
              </a:ln>
              <a:solidFill>
                <a:srgbClr val="59595B"/>
              </a:solidFill>
              <a:effectLst/>
              <a:uLnTx/>
              <a:uFillTx/>
              <a:ea typeface="+mn-ea"/>
              <a:cs typeface="Kanit Light" pitchFamily="2" charset="-34"/>
            </a:endParaRPr>
          </a:p>
        </p:txBody>
      </p:sp>
    </p:spTree>
    <p:extLst>
      <p:ext uri="{BB962C8B-B14F-4D97-AF65-F5344CB8AC3E}">
        <p14:creationId xmlns:p14="http://schemas.microsoft.com/office/powerpoint/2010/main" val="38799296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A3E95F-2E76-6EE6-ACCC-8EFE2A613B4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55EB70B-7D4C-A34B-927E-5272869476F4}"/>
              </a:ext>
            </a:extLst>
          </p:cNvPr>
          <p:cNvSpPr>
            <a:spLocks noGrp="1"/>
          </p:cNvSpPr>
          <p:nvPr>
            <p:ph type="ctrTitle"/>
          </p:nvPr>
        </p:nvSpPr>
        <p:spPr>
          <a:xfrm>
            <a:off x="733064" y="615433"/>
            <a:ext cx="11458936" cy="538586"/>
          </a:xfrm>
        </p:spPr>
        <p:txBody>
          <a:bodyPr>
            <a:normAutofit fontScale="90000"/>
          </a:bodyPr>
          <a:lstStyle/>
          <a:p>
            <a:pPr algn="l"/>
            <a:r>
              <a:rPr lang="en-US" dirty="0">
                <a:solidFill>
                  <a:schemeClr val="bg1"/>
                </a:solidFill>
              </a:rPr>
              <a:t>References</a:t>
            </a:r>
          </a:p>
        </p:txBody>
      </p:sp>
      <p:sp>
        <p:nvSpPr>
          <p:cNvPr id="6" name="Text Placeholder 2">
            <a:extLst>
              <a:ext uri="{FF2B5EF4-FFF2-40B4-BE49-F238E27FC236}">
                <a16:creationId xmlns:a16="http://schemas.microsoft.com/office/drawing/2014/main" id="{59B7B5F5-B04D-1C5A-A4E0-E6084A4E11E6}"/>
              </a:ext>
            </a:extLst>
          </p:cNvPr>
          <p:cNvSpPr txBox="1">
            <a:spLocks/>
          </p:cNvSpPr>
          <p:nvPr/>
        </p:nvSpPr>
        <p:spPr>
          <a:xfrm>
            <a:off x="838200" y="1884613"/>
            <a:ext cx="10515600" cy="3819368"/>
          </a:xfrm>
          <a:prstGeom prst="rect">
            <a:avLst/>
          </a:prstGeom>
        </p:spPr>
        <p:txBody>
          <a:bodyPr vert="horz" lIns="91440" tIns="45720" rIns="91440" bIns="45720" rtlCol="0" anchor="t">
            <a:normAutofit lnSpcReduction="10000"/>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lumMod val="65000"/>
                    <a:lumOff val="35000"/>
                  </a:schemeClr>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r>
              <a:rPr lang="en-US" sz="2000" dirty="0">
                <a:solidFill>
                  <a:schemeClr val="bg2"/>
                </a:solidFill>
                <a:latin typeface="+mj-lt"/>
              </a:rPr>
              <a:t>For more information on this subject, see the following publications:</a:t>
            </a:r>
          </a:p>
          <a:p>
            <a:pPr algn="l"/>
            <a:r>
              <a:rPr lang="en-US" sz="2000" dirty="0">
                <a:solidFill>
                  <a:schemeClr val="bg2"/>
                </a:solidFill>
                <a:latin typeface="+mj-lt"/>
              </a:rPr>
              <a:t>Suter-</a:t>
            </a:r>
            <a:r>
              <a:rPr lang="en-US" sz="2000" dirty="0" err="1">
                <a:solidFill>
                  <a:schemeClr val="bg2"/>
                </a:solidFill>
                <a:latin typeface="+mj-lt"/>
              </a:rPr>
              <a:t>Crazzola</a:t>
            </a:r>
            <a:r>
              <a:rPr lang="en-US" sz="2000" dirty="0">
                <a:solidFill>
                  <a:schemeClr val="bg2"/>
                </a:solidFill>
                <a:latin typeface="+mj-lt"/>
              </a:rPr>
              <a:t>, Clemens. (2018). </a:t>
            </a:r>
            <a:r>
              <a:rPr lang="en-US" sz="2000" i="1" dirty="0">
                <a:solidFill>
                  <a:schemeClr val="bg2"/>
                </a:solidFill>
                <a:latin typeface="+mj-lt"/>
              </a:rPr>
              <a:t>Better Patient Outcomes Through Mining of Biomedical Big Data</a:t>
            </a:r>
            <a:r>
              <a:rPr lang="en-US" sz="2000" dirty="0">
                <a:solidFill>
                  <a:schemeClr val="bg2"/>
                </a:solidFill>
                <a:latin typeface="+mj-lt"/>
              </a:rPr>
              <a:t>. Frontiers in ICT. 5.</a:t>
            </a:r>
          </a:p>
          <a:p>
            <a:pPr algn="l"/>
            <a:r>
              <a:rPr lang="en-US" sz="2000" dirty="0">
                <a:solidFill>
                  <a:schemeClr val="bg2"/>
                </a:solidFill>
                <a:latin typeface="+mj-lt"/>
              </a:rPr>
              <a:t>Stewart, Connor. (2020). </a:t>
            </a:r>
            <a:r>
              <a:rPr lang="en-US" sz="2000" i="1" dirty="0">
                <a:solidFill>
                  <a:schemeClr val="bg2"/>
                </a:solidFill>
                <a:latin typeface="+mj-lt"/>
              </a:rPr>
              <a:t>Annual Patient Generated Data Is Surging Globally</a:t>
            </a:r>
            <a:r>
              <a:rPr lang="en-US" sz="2000" dirty="0">
                <a:solidFill>
                  <a:schemeClr val="bg2"/>
                </a:solidFill>
                <a:latin typeface="+mj-lt"/>
              </a:rPr>
              <a:t>. Statista.</a:t>
            </a:r>
          </a:p>
          <a:p>
            <a:pPr algn="l"/>
            <a:r>
              <a:rPr lang="en-US" sz="2000" dirty="0">
                <a:solidFill>
                  <a:schemeClr val="bg2"/>
                </a:solidFill>
                <a:latin typeface="+mj-lt"/>
              </a:rPr>
              <a:t>Miser, WF. (1999). </a:t>
            </a:r>
            <a:r>
              <a:rPr lang="en-US" sz="2000" i="1" dirty="0">
                <a:solidFill>
                  <a:schemeClr val="bg2"/>
                </a:solidFill>
                <a:latin typeface="+mj-lt"/>
              </a:rPr>
              <a:t>Critical Appraisal of the Literature</a:t>
            </a:r>
            <a:r>
              <a:rPr lang="en-US" sz="2000" dirty="0">
                <a:solidFill>
                  <a:schemeClr val="bg2"/>
                </a:solidFill>
                <a:latin typeface="+mj-lt"/>
              </a:rPr>
              <a:t>. J Am Board Fam </a:t>
            </a:r>
            <a:r>
              <a:rPr lang="en-US" sz="2000" dirty="0" err="1">
                <a:solidFill>
                  <a:schemeClr val="bg2"/>
                </a:solidFill>
                <a:latin typeface="+mj-lt"/>
              </a:rPr>
              <a:t>Pract</a:t>
            </a:r>
            <a:r>
              <a:rPr lang="en-US" sz="2000" dirty="0">
                <a:solidFill>
                  <a:schemeClr val="bg2"/>
                </a:solidFill>
                <a:latin typeface="+mj-lt"/>
              </a:rPr>
              <a:t>, 12(4): 315-333.</a:t>
            </a:r>
          </a:p>
          <a:p>
            <a:pPr algn="l"/>
            <a:r>
              <a:rPr lang="en-US" sz="2000" dirty="0">
                <a:solidFill>
                  <a:schemeClr val="bg2"/>
                </a:solidFill>
                <a:latin typeface="+mj-lt"/>
              </a:rPr>
              <a:t>Densen, Peter. (2011). </a:t>
            </a:r>
            <a:r>
              <a:rPr lang="en-US" sz="2000" i="1" dirty="0">
                <a:solidFill>
                  <a:schemeClr val="bg2"/>
                </a:solidFill>
                <a:latin typeface="+mj-lt"/>
              </a:rPr>
              <a:t>Challenges and Opportunities Facings Medical Education</a:t>
            </a:r>
            <a:r>
              <a:rPr lang="en-US" sz="2000" dirty="0">
                <a:solidFill>
                  <a:schemeClr val="bg2"/>
                </a:solidFill>
                <a:latin typeface="+mj-lt"/>
              </a:rPr>
              <a:t>. NCBI.</a:t>
            </a:r>
          </a:p>
          <a:p>
            <a:pPr algn="l"/>
            <a:r>
              <a:rPr lang="en-US" sz="2000" dirty="0">
                <a:solidFill>
                  <a:schemeClr val="bg2"/>
                </a:solidFill>
                <a:latin typeface="+mj-lt"/>
              </a:rPr>
              <a:t>Woods, S. S., Oldenburg, J., van Leeuwen, D., </a:t>
            </a:r>
            <a:r>
              <a:rPr lang="en-US" sz="2000" dirty="0" err="1">
                <a:solidFill>
                  <a:schemeClr val="bg2"/>
                </a:solidFill>
                <a:latin typeface="+mj-lt"/>
              </a:rPr>
              <a:t>Sarasohn</a:t>
            </a:r>
            <a:r>
              <a:rPr lang="en-US" sz="2000" dirty="0">
                <a:solidFill>
                  <a:schemeClr val="bg2"/>
                </a:solidFill>
                <a:latin typeface="+mj-lt"/>
              </a:rPr>
              <a:t>-Kahn, J., &amp; Hudson, M. F. (2023). An Extraordinary Voice Expressed Through Humor: A Tribute to Casey Quinlan. </a:t>
            </a:r>
            <a:r>
              <a:rPr lang="en-US" sz="2000" i="1" dirty="0">
                <a:solidFill>
                  <a:schemeClr val="bg2"/>
                </a:solidFill>
                <a:latin typeface="+mj-lt"/>
              </a:rPr>
              <a:t>Journal of participatory medicine</a:t>
            </a:r>
            <a:r>
              <a:rPr lang="en-US" sz="2000" dirty="0">
                <a:solidFill>
                  <a:schemeClr val="bg2"/>
                </a:solidFill>
                <a:latin typeface="+mj-lt"/>
              </a:rPr>
              <a:t>, </a:t>
            </a:r>
            <a:r>
              <a:rPr lang="en-US" sz="2000" i="1" dirty="0">
                <a:solidFill>
                  <a:schemeClr val="bg2"/>
                </a:solidFill>
                <a:latin typeface="+mj-lt"/>
              </a:rPr>
              <a:t>15</a:t>
            </a:r>
            <a:r>
              <a:rPr lang="en-US" sz="2000" dirty="0">
                <a:solidFill>
                  <a:schemeClr val="bg2"/>
                </a:solidFill>
                <a:latin typeface="+mj-lt"/>
              </a:rPr>
              <a:t>, e54527. https://doi.org/10.2196/54527</a:t>
            </a:r>
          </a:p>
          <a:p>
            <a:pPr algn="l"/>
            <a:r>
              <a:rPr lang="en-US" sz="2000" dirty="0">
                <a:solidFill>
                  <a:schemeClr val="bg2"/>
                </a:solidFill>
                <a:latin typeface="+mj-lt"/>
              </a:rPr>
              <a:t>Reinhart, RA. (2020). </a:t>
            </a:r>
            <a:r>
              <a:rPr lang="en-US" sz="2000" i="1" dirty="0">
                <a:solidFill>
                  <a:schemeClr val="bg2"/>
                </a:solidFill>
                <a:latin typeface="+mj-lt"/>
              </a:rPr>
              <a:t>The Stethoscope in 19th-Century American Practice: Ideas, Rhetoric, and Eventual Adoption</a:t>
            </a:r>
            <a:r>
              <a:rPr lang="en-US" sz="2000" dirty="0">
                <a:solidFill>
                  <a:schemeClr val="bg2"/>
                </a:solidFill>
                <a:latin typeface="+mj-lt"/>
              </a:rPr>
              <a:t>. Can Bull Med Hist. 37(1): 50-87. </a:t>
            </a:r>
            <a:r>
              <a:rPr lang="en-US" sz="2000" dirty="0" err="1">
                <a:solidFill>
                  <a:schemeClr val="bg2"/>
                </a:solidFill>
                <a:latin typeface="+mj-lt"/>
              </a:rPr>
              <a:t>doi</a:t>
            </a:r>
            <a:r>
              <a:rPr lang="en-US" sz="2000" dirty="0">
                <a:solidFill>
                  <a:schemeClr val="bg2"/>
                </a:solidFill>
                <a:latin typeface="+mj-lt"/>
              </a:rPr>
              <a:t>: 10.3138/cbmh.317-02201</a:t>
            </a:r>
          </a:p>
        </p:txBody>
      </p:sp>
    </p:spTree>
    <p:extLst>
      <p:ext uri="{BB962C8B-B14F-4D97-AF65-F5344CB8AC3E}">
        <p14:creationId xmlns:p14="http://schemas.microsoft.com/office/powerpoint/2010/main" val="296477304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7BF59B4-D1B2-3087-A669-86FEEEEE349F}"/>
              </a:ext>
            </a:extLst>
          </p:cNvPr>
          <p:cNvSpPr>
            <a:spLocks noGrp="1"/>
          </p:cNvSpPr>
          <p:nvPr>
            <p:ph type="title"/>
          </p:nvPr>
        </p:nvSpPr>
        <p:spPr>
          <a:xfrm>
            <a:off x="930949" y="0"/>
            <a:ext cx="11010898" cy="1229360"/>
          </a:xfrm>
        </p:spPr>
        <p:txBody>
          <a:bodyPr/>
          <a:lstStyle/>
          <a:p>
            <a:r>
              <a:rPr lang="en-US" sz="4000" dirty="0"/>
              <a:t>Agenda</a:t>
            </a:r>
          </a:p>
        </p:txBody>
      </p:sp>
      <p:graphicFrame>
        <p:nvGraphicFramePr>
          <p:cNvPr id="2" name="Table 1">
            <a:extLst>
              <a:ext uri="{FF2B5EF4-FFF2-40B4-BE49-F238E27FC236}">
                <a16:creationId xmlns:a16="http://schemas.microsoft.com/office/drawing/2014/main" id="{0F2110EA-773B-ECC0-1C87-3861B0F083C4}"/>
              </a:ext>
            </a:extLst>
          </p:cNvPr>
          <p:cNvGraphicFramePr>
            <a:graphicFrameLocks noGrp="1"/>
          </p:cNvGraphicFramePr>
          <p:nvPr>
            <p:extLst>
              <p:ext uri="{D42A27DB-BD31-4B8C-83A1-F6EECF244321}">
                <p14:modId xmlns:p14="http://schemas.microsoft.com/office/powerpoint/2010/main" val="1147185148"/>
              </p:ext>
            </p:extLst>
          </p:nvPr>
        </p:nvGraphicFramePr>
        <p:xfrm>
          <a:off x="1495152" y="1399346"/>
          <a:ext cx="8335696" cy="3291840"/>
        </p:xfrm>
        <a:graphic>
          <a:graphicData uri="http://schemas.openxmlformats.org/drawingml/2006/table">
            <a:tbl>
              <a:tblPr>
                <a:tableStyleId>{ED083AE6-46FA-4A59-8FB0-9F97EB10719F}</a:tableStyleId>
              </a:tblPr>
              <a:tblGrid>
                <a:gridCol w="8335696">
                  <a:extLst>
                    <a:ext uri="{9D8B030D-6E8A-4147-A177-3AD203B41FA5}">
                      <a16:colId xmlns:a16="http://schemas.microsoft.com/office/drawing/2014/main" val="3864835392"/>
                    </a:ext>
                  </a:extLst>
                </a:gridCol>
              </a:tblGrid>
              <a:tr h="457200">
                <a:tc>
                  <a:txBody>
                    <a:bodyPr/>
                    <a:lstStyle/>
                    <a:p>
                      <a:pPr marL="285750" indent="-285750">
                        <a:buFont typeface="Arial" panose="020B0604020202020204" pitchFamily="34" charset="0"/>
                        <a:buChar char="•"/>
                      </a:pPr>
                      <a:r>
                        <a:rPr lang="en-US" sz="2000" dirty="0">
                          <a:solidFill>
                            <a:schemeClr val="bg2"/>
                          </a:solidFill>
                          <a:latin typeface="+mj-lt"/>
                        </a:rPr>
                        <a:t>Current Expectations of Data Exchange</a:t>
                      </a:r>
                    </a:p>
                    <a:p>
                      <a:pPr marL="285750" indent="-285750">
                        <a:buFont typeface="Arial" panose="020B0604020202020204" pitchFamily="34" charset="0"/>
                        <a:buChar char="•"/>
                      </a:pPr>
                      <a:r>
                        <a:rPr lang="en-US" sz="2000" dirty="0">
                          <a:solidFill>
                            <a:schemeClr val="bg2"/>
                          </a:solidFill>
                          <a:latin typeface="+mj-lt"/>
                        </a:rPr>
                        <a:t>Data Equity – Can EHR Data Quality Identify those at Risk for Marginalization?</a:t>
                      </a:r>
                    </a:p>
                    <a:p>
                      <a:pPr marL="285750" indent="-285750">
                        <a:buFont typeface="Arial" panose="020B0604020202020204" pitchFamily="34" charset="0"/>
                        <a:buChar char="•"/>
                      </a:pPr>
                      <a:r>
                        <a:rPr lang="en-US" sz="2000" dirty="0">
                          <a:solidFill>
                            <a:schemeClr val="bg2"/>
                          </a:solidFill>
                          <a:latin typeface="+mj-lt"/>
                        </a:rPr>
                        <a:t>EHR – More than Meets the Eye – Clinical Chronology and Social Factor Suspecting</a:t>
                      </a:r>
                    </a:p>
                    <a:p>
                      <a:pPr marL="285750" indent="-285750">
                        <a:buFont typeface="Arial" panose="020B0604020202020204" pitchFamily="34" charset="0"/>
                        <a:buChar char="•"/>
                      </a:pPr>
                      <a:r>
                        <a:rPr lang="en-US" sz="2000" dirty="0">
                          <a:solidFill>
                            <a:schemeClr val="bg2"/>
                          </a:solidFill>
                          <a:latin typeface="+mj-lt"/>
                        </a:rPr>
                        <a:t>Do National Data Quality Standards Drive True Data Quality?</a:t>
                      </a:r>
                    </a:p>
                    <a:p>
                      <a:pPr marL="285750" indent="-285750">
                        <a:buFont typeface="Arial" panose="020B0604020202020204" pitchFamily="34" charset="0"/>
                        <a:buChar char="•"/>
                      </a:pPr>
                      <a:r>
                        <a:rPr lang="en-US" sz="2000" dirty="0">
                          <a:solidFill>
                            <a:schemeClr val="bg2"/>
                          </a:solidFill>
                          <a:latin typeface="+mj-lt"/>
                        </a:rPr>
                        <a:t>How Well is Basic Demographic Data Captured?</a:t>
                      </a:r>
                    </a:p>
                    <a:p>
                      <a:pPr marL="285750" indent="-285750">
                        <a:buFont typeface="Arial" panose="020B0604020202020204" pitchFamily="34" charset="0"/>
                        <a:buChar char="•"/>
                      </a:pPr>
                      <a:r>
                        <a:rPr lang="en-US" sz="2000" dirty="0">
                          <a:solidFill>
                            <a:schemeClr val="bg2"/>
                          </a:solidFill>
                          <a:latin typeface="+mj-lt"/>
                        </a:rPr>
                        <a:t>How do Social Divisions Impact Data Quality?</a:t>
                      </a:r>
                    </a:p>
                    <a:p>
                      <a:pPr marL="285750" indent="-285750">
                        <a:buFont typeface="Arial" panose="020B0604020202020204" pitchFamily="34" charset="0"/>
                        <a:buChar char="•"/>
                      </a:pPr>
                      <a:r>
                        <a:rPr lang="en-US" sz="2000" dirty="0">
                          <a:solidFill>
                            <a:schemeClr val="bg2"/>
                          </a:solidFill>
                          <a:latin typeface="+mj-lt"/>
                        </a:rPr>
                        <a:t>Final Thoughts</a:t>
                      </a: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46943761"/>
                  </a:ext>
                </a:extLst>
              </a:tr>
              <a:tr h="457200">
                <a:tc>
                  <a:txBody>
                    <a:bodyPr/>
                    <a:lstStyle/>
                    <a:p>
                      <a:pPr marL="0" indent="0">
                        <a:buFont typeface="Arial" panose="020B0604020202020204" pitchFamily="34" charset="0"/>
                        <a:buNone/>
                      </a:pPr>
                      <a:endParaRPr lang="en-US" sz="2000" dirty="0">
                        <a:solidFill>
                          <a:schemeClr val="bg2"/>
                        </a:solidFill>
                        <a:latin typeface="+mj-lt"/>
                      </a:endParaRPr>
                    </a:p>
                  </a:txBody>
                  <a:tcPr anchor="ctr">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1257740"/>
                  </a:ext>
                </a:extLst>
              </a:tr>
            </a:tbl>
          </a:graphicData>
        </a:graphic>
      </p:graphicFrame>
    </p:spTree>
    <p:extLst>
      <p:ext uri="{BB962C8B-B14F-4D97-AF65-F5344CB8AC3E}">
        <p14:creationId xmlns:p14="http://schemas.microsoft.com/office/powerpoint/2010/main" val="2182644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117F79A-7704-E4D1-72D2-05662508A100}"/>
              </a:ext>
            </a:extLst>
          </p:cNvPr>
          <p:cNvSpPr/>
          <p:nvPr/>
        </p:nvSpPr>
        <p:spPr>
          <a:xfrm>
            <a:off x="480707" y="139032"/>
            <a:ext cx="1571707" cy="2132931"/>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3" name="Title 3">
            <a:extLst>
              <a:ext uri="{FF2B5EF4-FFF2-40B4-BE49-F238E27FC236}">
                <a16:creationId xmlns:a16="http://schemas.microsoft.com/office/drawing/2014/main" id="{63CD8034-8901-7973-770D-1C65DD0C025B}"/>
              </a:ext>
            </a:extLst>
          </p:cNvPr>
          <p:cNvSpPr txBox="1">
            <a:spLocks/>
          </p:cNvSpPr>
          <p:nvPr/>
        </p:nvSpPr>
        <p:spPr>
          <a:xfrm>
            <a:off x="2015795" y="-14717"/>
            <a:ext cx="7439490" cy="535125"/>
          </a:xfrm>
          <a:prstGeom prst="rect">
            <a:avLst/>
          </a:prstGeom>
        </p:spPr>
        <p:txBody>
          <a:bodyPr/>
          <a:lstStyle>
            <a:lvl1pPr>
              <a:defRPr>
                <a:latin typeface="+mj-lt"/>
                <a:ea typeface="+mj-ea"/>
                <a:cs typeface="+mj-cs"/>
              </a:defRPr>
            </a:lvl1pPr>
          </a:lstStyle>
          <a:p>
            <a:r>
              <a:rPr lang="en-US" sz="4000" kern="0" dirty="0">
                <a:solidFill>
                  <a:schemeClr val="bg1"/>
                </a:solidFill>
                <a:latin typeface="Source Serif Pro" panose="02040603050405020204" pitchFamily="18" charset="0"/>
                <a:ea typeface="Source Serif Pro" panose="02040603050405020204" pitchFamily="18" charset="0"/>
              </a:rPr>
              <a:t>Actual Patient Documentation Experience</a:t>
            </a:r>
          </a:p>
        </p:txBody>
      </p:sp>
      <p:sp>
        <p:nvSpPr>
          <p:cNvPr id="4" name="Oval 3">
            <a:extLst>
              <a:ext uri="{FF2B5EF4-FFF2-40B4-BE49-F238E27FC236}">
                <a16:creationId xmlns:a16="http://schemas.microsoft.com/office/drawing/2014/main" id="{C5D92A0D-D4D5-5955-EDED-54647B7A7CCA}"/>
              </a:ext>
            </a:extLst>
          </p:cNvPr>
          <p:cNvSpPr/>
          <p:nvPr/>
        </p:nvSpPr>
        <p:spPr bwMode="auto">
          <a:xfrm rot="16200000">
            <a:off x="5890722" y="3339645"/>
            <a:ext cx="599292" cy="233920"/>
          </a:xfrm>
          <a:prstGeom prst="ellipse">
            <a:avLst/>
          </a:prstGeom>
          <a:solidFill>
            <a:srgbClr val="00B0F0"/>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5" name="Rectangle 6">
            <a:extLst>
              <a:ext uri="{FF2B5EF4-FFF2-40B4-BE49-F238E27FC236}">
                <a16:creationId xmlns:a16="http://schemas.microsoft.com/office/drawing/2014/main" id="{448D423A-DDE3-8F76-DD5D-5468B5D9777B}"/>
              </a:ext>
            </a:extLst>
          </p:cNvPr>
          <p:cNvSpPr/>
          <p:nvPr/>
        </p:nvSpPr>
        <p:spPr bwMode="auto">
          <a:xfrm rot="16200000">
            <a:off x="5511819" y="3075885"/>
            <a:ext cx="597543" cy="743303"/>
          </a:xfrm>
          <a:custGeom>
            <a:avLst/>
            <a:gdLst/>
            <a:ahLst/>
            <a:cxnLst/>
            <a:rect l="l" t="t" r="r" b="b"/>
            <a:pathLst>
              <a:path w="838200" h="762000">
                <a:moveTo>
                  <a:pt x="0" y="0"/>
                </a:moveTo>
                <a:lnTo>
                  <a:pt x="2817" y="0"/>
                </a:lnTo>
                <a:cubicBezTo>
                  <a:pt x="16225" y="59814"/>
                  <a:pt x="197594" y="106680"/>
                  <a:pt x="419100" y="106680"/>
                </a:cubicBezTo>
                <a:cubicBezTo>
                  <a:pt x="640606" y="106680"/>
                  <a:pt x="821975" y="59814"/>
                  <a:pt x="835384" y="0"/>
                </a:cubicBezTo>
                <a:lnTo>
                  <a:pt x="838200" y="0"/>
                </a:lnTo>
                <a:lnTo>
                  <a:pt x="838200" y="762000"/>
                </a:lnTo>
                <a:cubicBezTo>
                  <a:pt x="838200" y="698874"/>
                  <a:pt x="650563" y="647700"/>
                  <a:pt x="419100" y="647700"/>
                </a:cubicBezTo>
                <a:cubicBezTo>
                  <a:pt x="187637" y="647700"/>
                  <a:pt x="0" y="698874"/>
                  <a:pt x="0" y="762000"/>
                </a:cubicBezTo>
                <a:close/>
              </a:path>
            </a:pathLst>
          </a:custGeom>
          <a:solidFill>
            <a:srgbClr val="00B0F0"/>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6" name="Flowchart: Merge 11">
            <a:extLst>
              <a:ext uri="{FF2B5EF4-FFF2-40B4-BE49-F238E27FC236}">
                <a16:creationId xmlns:a16="http://schemas.microsoft.com/office/drawing/2014/main" id="{F536380B-01CB-EB0E-A297-6FE490622F60}"/>
              </a:ext>
            </a:extLst>
          </p:cNvPr>
          <p:cNvSpPr/>
          <p:nvPr/>
        </p:nvSpPr>
        <p:spPr bwMode="auto">
          <a:xfrm rot="16200000">
            <a:off x="2416612" y="1947281"/>
            <a:ext cx="3234381" cy="3000511"/>
          </a:xfrm>
          <a:custGeom>
            <a:avLst/>
            <a:gdLst/>
            <a:ahLst/>
            <a:cxnLst/>
            <a:rect l="l" t="t" r="r" b="b"/>
            <a:pathLst>
              <a:path w="4156062" h="2495325">
                <a:moveTo>
                  <a:pt x="0" y="0"/>
                </a:moveTo>
                <a:cubicBezTo>
                  <a:pt x="130340" y="101238"/>
                  <a:pt x="1011061" y="178844"/>
                  <a:pt x="2078031" y="178844"/>
                </a:cubicBezTo>
                <a:cubicBezTo>
                  <a:pt x="3145002" y="178844"/>
                  <a:pt x="4025722" y="101238"/>
                  <a:pt x="4156062" y="0"/>
                </a:cubicBezTo>
                <a:lnTo>
                  <a:pt x="2473871" y="2416238"/>
                </a:lnTo>
                <a:cubicBezTo>
                  <a:pt x="2419974" y="2462647"/>
                  <a:pt x="2262996" y="2495325"/>
                  <a:pt x="2078031" y="2495325"/>
                </a:cubicBezTo>
                <a:cubicBezTo>
                  <a:pt x="1893065" y="2495325"/>
                  <a:pt x="1736086" y="2462646"/>
                  <a:pt x="1682190" y="2416237"/>
                </a:cubicBezTo>
                <a:close/>
              </a:path>
            </a:pathLst>
          </a:custGeom>
          <a:solidFill>
            <a:srgbClr val="00B0F0"/>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7" name="Oval 6">
            <a:extLst>
              <a:ext uri="{FF2B5EF4-FFF2-40B4-BE49-F238E27FC236}">
                <a16:creationId xmlns:a16="http://schemas.microsoft.com/office/drawing/2014/main" id="{1B57F89B-996C-B2E8-EEB2-B245DA110FC3}"/>
              </a:ext>
            </a:extLst>
          </p:cNvPr>
          <p:cNvSpPr/>
          <p:nvPr/>
        </p:nvSpPr>
        <p:spPr bwMode="auto">
          <a:xfrm rot="16200000">
            <a:off x="872991" y="3202039"/>
            <a:ext cx="3259095" cy="491040"/>
          </a:xfrm>
          <a:prstGeom prst="ellipse">
            <a:avLst/>
          </a:prstGeom>
          <a:solidFill>
            <a:srgbClr val="00B0F0"/>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nvGrpSpPr>
          <p:cNvPr id="8" name="Group 7">
            <a:extLst>
              <a:ext uri="{FF2B5EF4-FFF2-40B4-BE49-F238E27FC236}">
                <a16:creationId xmlns:a16="http://schemas.microsoft.com/office/drawing/2014/main" id="{E56D551F-27B9-25B0-1D8F-1FECF32B47F7}"/>
              </a:ext>
            </a:extLst>
          </p:cNvPr>
          <p:cNvGrpSpPr/>
          <p:nvPr/>
        </p:nvGrpSpPr>
        <p:grpSpPr>
          <a:xfrm>
            <a:off x="2257018" y="1818011"/>
            <a:ext cx="3925223" cy="3259095"/>
            <a:chOff x="701138" y="1452059"/>
            <a:chExt cx="2943918" cy="2444322"/>
          </a:xfrm>
        </p:grpSpPr>
        <p:sp>
          <p:nvSpPr>
            <p:cNvPr id="9" name="Flowchart: Merge 11">
              <a:extLst>
                <a:ext uri="{FF2B5EF4-FFF2-40B4-BE49-F238E27FC236}">
                  <a16:creationId xmlns:a16="http://schemas.microsoft.com/office/drawing/2014/main" id="{6FA7160E-E07E-EA66-6505-5CF2FC33DA17}"/>
                </a:ext>
              </a:extLst>
            </p:cNvPr>
            <p:cNvSpPr/>
            <p:nvPr/>
          </p:nvSpPr>
          <p:spPr bwMode="auto">
            <a:xfrm rot="16200000">
              <a:off x="820834" y="1549012"/>
              <a:ext cx="2425787" cy="2250383"/>
            </a:xfrm>
            <a:custGeom>
              <a:avLst/>
              <a:gdLst/>
              <a:ahLst/>
              <a:cxnLst/>
              <a:rect l="l" t="t" r="r" b="b"/>
              <a:pathLst>
                <a:path w="4156062" h="2495325">
                  <a:moveTo>
                    <a:pt x="0" y="0"/>
                  </a:moveTo>
                  <a:cubicBezTo>
                    <a:pt x="130340" y="101238"/>
                    <a:pt x="1011061" y="178844"/>
                    <a:pt x="2078031" y="178844"/>
                  </a:cubicBezTo>
                  <a:cubicBezTo>
                    <a:pt x="3145002" y="178844"/>
                    <a:pt x="4025722" y="101238"/>
                    <a:pt x="4156062" y="0"/>
                  </a:cubicBezTo>
                  <a:lnTo>
                    <a:pt x="2473871" y="2416238"/>
                  </a:lnTo>
                  <a:cubicBezTo>
                    <a:pt x="2419974" y="2462647"/>
                    <a:pt x="2262996" y="2495325"/>
                    <a:pt x="2078031" y="2495325"/>
                  </a:cubicBezTo>
                  <a:cubicBezTo>
                    <a:pt x="1893065" y="2495325"/>
                    <a:pt x="1736086" y="2462646"/>
                    <a:pt x="1682190" y="2416237"/>
                  </a:cubicBezTo>
                  <a:close/>
                </a:path>
              </a:pathLst>
            </a:custGeom>
            <a:gradFill flip="none" rotWithShape="1">
              <a:gsLst>
                <a:gs pos="0">
                  <a:schemeClr val="bg1">
                    <a:lumMod val="75000"/>
                    <a:alpha val="75000"/>
                  </a:schemeClr>
                </a:gs>
                <a:gs pos="52000">
                  <a:schemeClr val="bg1">
                    <a:alpha val="75000"/>
                  </a:schemeClr>
                </a:gs>
                <a:gs pos="48000">
                  <a:srgbClr val="FFFFFF">
                    <a:alpha val="75000"/>
                  </a:srgbClr>
                </a:gs>
                <a:gs pos="100000">
                  <a:schemeClr val="bg1">
                    <a:lumMod val="75000"/>
                    <a:alpha val="75000"/>
                  </a:schemeClr>
                </a:gs>
              </a:gsLst>
              <a:lin ang="0" scaled="1"/>
              <a:tileRect/>
            </a:gra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0" name="Oval 9">
              <a:extLst>
                <a:ext uri="{FF2B5EF4-FFF2-40B4-BE49-F238E27FC236}">
                  <a16:creationId xmlns:a16="http://schemas.microsoft.com/office/drawing/2014/main" id="{8BE7A34C-1402-B42A-CF1F-F8236AFFCA19}"/>
                </a:ext>
              </a:extLst>
            </p:cNvPr>
            <p:cNvSpPr/>
            <p:nvPr/>
          </p:nvSpPr>
          <p:spPr bwMode="auto">
            <a:xfrm rot="16200000">
              <a:off x="-336883" y="2490080"/>
              <a:ext cx="2444322" cy="368280"/>
            </a:xfrm>
            <a:prstGeom prst="ellipse">
              <a:avLst/>
            </a:prstGeom>
            <a:gradFill flip="none" rotWithShape="1">
              <a:gsLst>
                <a:gs pos="0">
                  <a:schemeClr val="bg1">
                    <a:alpha val="75000"/>
                  </a:schemeClr>
                </a:gs>
                <a:gs pos="100000">
                  <a:schemeClr val="bg1">
                    <a:lumMod val="75000"/>
                    <a:alpha val="75000"/>
                  </a:schemeClr>
                </a:gs>
              </a:gsLst>
              <a:lin ang="5400000" scaled="1"/>
              <a:tileRect/>
            </a:gra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1" name="Rectangle 6">
              <a:extLst>
                <a:ext uri="{FF2B5EF4-FFF2-40B4-BE49-F238E27FC236}">
                  <a16:creationId xmlns:a16="http://schemas.microsoft.com/office/drawing/2014/main" id="{45348552-460D-A002-2E75-AFF78A38FB25}"/>
                </a:ext>
              </a:extLst>
            </p:cNvPr>
            <p:cNvSpPr/>
            <p:nvPr/>
          </p:nvSpPr>
          <p:spPr bwMode="auto">
            <a:xfrm rot="16200000">
              <a:off x="3142239" y="2395465"/>
              <a:ext cx="448157" cy="557477"/>
            </a:xfrm>
            <a:custGeom>
              <a:avLst/>
              <a:gdLst/>
              <a:ahLst/>
              <a:cxnLst/>
              <a:rect l="l" t="t" r="r" b="b"/>
              <a:pathLst>
                <a:path w="838200" h="762000">
                  <a:moveTo>
                    <a:pt x="0" y="0"/>
                  </a:moveTo>
                  <a:lnTo>
                    <a:pt x="2817" y="0"/>
                  </a:lnTo>
                  <a:cubicBezTo>
                    <a:pt x="16225" y="59814"/>
                    <a:pt x="197594" y="106680"/>
                    <a:pt x="419100" y="106680"/>
                  </a:cubicBezTo>
                  <a:cubicBezTo>
                    <a:pt x="640606" y="106680"/>
                    <a:pt x="821975" y="59814"/>
                    <a:pt x="835384" y="0"/>
                  </a:cubicBezTo>
                  <a:lnTo>
                    <a:pt x="838200" y="0"/>
                  </a:lnTo>
                  <a:lnTo>
                    <a:pt x="838200" y="762000"/>
                  </a:lnTo>
                  <a:cubicBezTo>
                    <a:pt x="838200" y="698874"/>
                    <a:pt x="650563" y="647700"/>
                    <a:pt x="419100" y="647700"/>
                  </a:cubicBezTo>
                  <a:cubicBezTo>
                    <a:pt x="187637" y="647700"/>
                    <a:pt x="0" y="698874"/>
                    <a:pt x="0" y="762000"/>
                  </a:cubicBezTo>
                  <a:close/>
                </a:path>
              </a:pathLst>
            </a:custGeom>
            <a:gradFill>
              <a:gsLst>
                <a:gs pos="0">
                  <a:schemeClr val="accent1">
                    <a:lumMod val="5000"/>
                    <a:lumOff val="95000"/>
                  </a:schemeClr>
                </a:gs>
                <a:gs pos="100000">
                  <a:schemeClr val="accent1">
                    <a:lumMod val="45000"/>
                    <a:lumOff val="55000"/>
                    <a:alpha val="0"/>
                  </a:schemeClr>
                </a:gs>
                <a:gs pos="1000">
                  <a:schemeClr val="accent1">
                    <a:lumMod val="45000"/>
                    <a:lumOff val="55000"/>
                  </a:schemeClr>
                </a:gs>
                <a:gs pos="100000">
                  <a:schemeClr val="accent1">
                    <a:lumMod val="30000"/>
                    <a:lumOff val="70000"/>
                  </a:schemeClr>
                </a:gs>
              </a:gsLst>
              <a:lin ang="5400000" scaled="1"/>
            </a:gra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sp>
        <p:nvSpPr>
          <p:cNvPr id="12" name="Flowchart: Merge 16">
            <a:extLst>
              <a:ext uri="{FF2B5EF4-FFF2-40B4-BE49-F238E27FC236}">
                <a16:creationId xmlns:a16="http://schemas.microsoft.com/office/drawing/2014/main" id="{62A4E278-A243-10FE-0B11-B224837219E7}"/>
              </a:ext>
            </a:extLst>
          </p:cNvPr>
          <p:cNvSpPr/>
          <p:nvPr/>
        </p:nvSpPr>
        <p:spPr bwMode="auto">
          <a:xfrm rot="15399456">
            <a:off x="3682970" y="2276002"/>
            <a:ext cx="759269" cy="2989501"/>
          </a:xfrm>
          <a:custGeom>
            <a:avLst/>
            <a:gdLst/>
            <a:ahLst/>
            <a:cxnLst/>
            <a:rect l="l" t="t" r="r" b="b"/>
            <a:pathLst>
              <a:path w="813694" h="2496785">
                <a:moveTo>
                  <a:pt x="0" y="0"/>
                </a:moveTo>
                <a:cubicBezTo>
                  <a:pt x="238935" y="73121"/>
                  <a:pt x="514933" y="149709"/>
                  <a:pt x="813694" y="224116"/>
                </a:cubicBezTo>
                <a:lnTo>
                  <a:pt x="425965" y="2496785"/>
                </a:lnTo>
                <a:close/>
              </a:path>
            </a:pathLst>
          </a:custGeom>
          <a:gradFill flip="none" rotWithShape="1">
            <a:gsLst>
              <a:gs pos="0">
                <a:schemeClr val="bg1"/>
              </a:gs>
              <a:gs pos="23000">
                <a:srgbClr val="FFFFFF"/>
              </a:gs>
              <a:gs pos="100000">
                <a:schemeClr val="bg1">
                  <a:alpha val="50000"/>
                </a:schemeClr>
              </a:gs>
            </a:gsLst>
            <a:lin ang="54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3" name="Block Arc 12">
            <a:extLst>
              <a:ext uri="{FF2B5EF4-FFF2-40B4-BE49-F238E27FC236}">
                <a16:creationId xmlns:a16="http://schemas.microsoft.com/office/drawing/2014/main" id="{168F1F3C-A788-F62D-3268-F912499B473B}"/>
              </a:ext>
            </a:extLst>
          </p:cNvPr>
          <p:cNvSpPr/>
          <p:nvPr/>
        </p:nvSpPr>
        <p:spPr>
          <a:xfrm flipH="1" flipV="1">
            <a:off x="480707" y="313217"/>
            <a:ext cx="4013989" cy="3927633"/>
          </a:xfrm>
          <a:prstGeom prst="blockArc">
            <a:avLst>
              <a:gd name="adj1" fmla="val 16145112"/>
              <a:gd name="adj2" fmla="val 79293"/>
              <a:gd name="adj3" fmla="val 39902"/>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63666A"/>
              </a:solidFill>
              <a:effectLst/>
              <a:uLnTx/>
              <a:uFillTx/>
              <a:latin typeface="Arial" panose="020B0604020202020204"/>
              <a:ea typeface="+mn-ea"/>
              <a:cs typeface="+mn-cs"/>
            </a:endParaRPr>
          </a:p>
        </p:txBody>
      </p:sp>
      <p:grpSp>
        <p:nvGrpSpPr>
          <p:cNvPr id="14" name="Group 13">
            <a:extLst>
              <a:ext uri="{FF2B5EF4-FFF2-40B4-BE49-F238E27FC236}">
                <a16:creationId xmlns:a16="http://schemas.microsoft.com/office/drawing/2014/main" id="{80DD5276-8CD5-1B08-AA83-64EAFDE23F19}"/>
              </a:ext>
            </a:extLst>
          </p:cNvPr>
          <p:cNvGrpSpPr/>
          <p:nvPr/>
        </p:nvGrpSpPr>
        <p:grpSpPr>
          <a:xfrm>
            <a:off x="789652" y="381480"/>
            <a:ext cx="953816" cy="1197621"/>
            <a:chOff x="5241102" y="566971"/>
            <a:chExt cx="715362" cy="898216"/>
          </a:xfrm>
          <a:solidFill>
            <a:schemeClr val="bg1"/>
          </a:solidFill>
        </p:grpSpPr>
        <p:sp>
          <p:nvSpPr>
            <p:cNvPr id="15" name="Oval 14">
              <a:extLst>
                <a:ext uri="{FF2B5EF4-FFF2-40B4-BE49-F238E27FC236}">
                  <a16:creationId xmlns:a16="http://schemas.microsoft.com/office/drawing/2014/main" id="{E5AB0649-11DB-DCDC-3E0D-66E09F1B3092}"/>
                </a:ext>
              </a:extLst>
            </p:cNvPr>
            <p:cNvSpPr/>
            <p:nvPr/>
          </p:nvSpPr>
          <p:spPr>
            <a:xfrm>
              <a:off x="5550683" y="566971"/>
              <a:ext cx="298932" cy="296267"/>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6" name="Oval 15">
              <a:extLst>
                <a:ext uri="{FF2B5EF4-FFF2-40B4-BE49-F238E27FC236}">
                  <a16:creationId xmlns:a16="http://schemas.microsoft.com/office/drawing/2014/main" id="{2A20B000-5790-5DB1-0BE0-CC210565367A}"/>
                </a:ext>
              </a:extLst>
            </p:cNvPr>
            <p:cNvSpPr/>
            <p:nvPr/>
          </p:nvSpPr>
          <p:spPr>
            <a:xfrm>
              <a:off x="5270366" y="842471"/>
              <a:ext cx="298932" cy="296267"/>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7" name="Oval 16">
              <a:extLst>
                <a:ext uri="{FF2B5EF4-FFF2-40B4-BE49-F238E27FC236}">
                  <a16:creationId xmlns:a16="http://schemas.microsoft.com/office/drawing/2014/main" id="{872D4E2C-48EF-CE9C-377A-001124720B43}"/>
                </a:ext>
              </a:extLst>
            </p:cNvPr>
            <p:cNvSpPr/>
            <p:nvPr/>
          </p:nvSpPr>
          <p:spPr>
            <a:xfrm>
              <a:off x="5657532" y="930161"/>
              <a:ext cx="298932" cy="296267"/>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8" name="Oval 17">
              <a:extLst>
                <a:ext uri="{FF2B5EF4-FFF2-40B4-BE49-F238E27FC236}">
                  <a16:creationId xmlns:a16="http://schemas.microsoft.com/office/drawing/2014/main" id="{4BA0E977-7366-4866-4484-824315170F8A}"/>
                </a:ext>
              </a:extLst>
            </p:cNvPr>
            <p:cNvSpPr/>
            <p:nvPr/>
          </p:nvSpPr>
          <p:spPr>
            <a:xfrm>
              <a:off x="5241102" y="1199944"/>
              <a:ext cx="160206" cy="118906"/>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9" name="Oval 18">
              <a:extLst>
                <a:ext uri="{FF2B5EF4-FFF2-40B4-BE49-F238E27FC236}">
                  <a16:creationId xmlns:a16="http://schemas.microsoft.com/office/drawing/2014/main" id="{8DAF42D9-973D-ED47-AF49-45A8E72C6FD7}"/>
                </a:ext>
              </a:extLst>
            </p:cNvPr>
            <p:cNvSpPr/>
            <p:nvPr/>
          </p:nvSpPr>
          <p:spPr>
            <a:xfrm>
              <a:off x="5518680" y="1199944"/>
              <a:ext cx="160206" cy="118906"/>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0" name="Oval 19">
              <a:extLst>
                <a:ext uri="{FF2B5EF4-FFF2-40B4-BE49-F238E27FC236}">
                  <a16:creationId xmlns:a16="http://schemas.microsoft.com/office/drawing/2014/main" id="{4D45A555-DB2E-ED12-3A29-2E16B0D686FF}"/>
                </a:ext>
              </a:extLst>
            </p:cNvPr>
            <p:cNvSpPr/>
            <p:nvPr/>
          </p:nvSpPr>
          <p:spPr>
            <a:xfrm>
              <a:off x="5774040" y="1341342"/>
              <a:ext cx="160206" cy="118906"/>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1" name="Oval 20">
              <a:extLst>
                <a:ext uri="{FF2B5EF4-FFF2-40B4-BE49-F238E27FC236}">
                  <a16:creationId xmlns:a16="http://schemas.microsoft.com/office/drawing/2014/main" id="{B0604476-4B2D-6BBC-B110-2F4E44187C70}"/>
                </a:ext>
              </a:extLst>
            </p:cNvPr>
            <p:cNvSpPr/>
            <p:nvPr/>
          </p:nvSpPr>
          <p:spPr>
            <a:xfrm>
              <a:off x="5328989" y="639682"/>
              <a:ext cx="160206" cy="118906"/>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2" name="Oval 21">
              <a:extLst>
                <a:ext uri="{FF2B5EF4-FFF2-40B4-BE49-F238E27FC236}">
                  <a16:creationId xmlns:a16="http://schemas.microsoft.com/office/drawing/2014/main" id="{92852103-AABE-2FDD-944A-1C9BA23D2E9D}"/>
                </a:ext>
              </a:extLst>
            </p:cNvPr>
            <p:cNvSpPr/>
            <p:nvPr/>
          </p:nvSpPr>
          <p:spPr>
            <a:xfrm>
              <a:off x="5409092" y="1346281"/>
              <a:ext cx="160206" cy="118906"/>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grpSp>
        <p:nvGrpSpPr>
          <p:cNvPr id="23" name="Group 22">
            <a:extLst>
              <a:ext uri="{FF2B5EF4-FFF2-40B4-BE49-F238E27FC236}">
                <a16:creationId xmlns:a16="http://schemas.microsoft.com/office/drawing/2014/main" id="{49641263-5C28-7578-CED8-4D39A7F3A409}"/>
              </a:ext>
            </a:extLst>
          </p:cNvPr>
          <p:cNvGrpSpPr/>
          <p:nvPr/>
        </p:nvGrpSpPr>
        <p:grpSpPr>
          <a:xfrm>
            <a:off x="832323" y="950162"/>
            <a:ext cx="953816" cy="1197621"/>
            <a:chOff x="5241102" y="566971"/>
            <a:chExt cx="715362" cy="898216"/>
          </a:xfrm>
          <a:solidFill>
            <a:schemeClr val="bg1"/>
          </a:solidFill>
        </p:grpSpPr>
        <p:sp>
          <p:nvSpPr>
            <p:cNvPr id="24" name="Oval 23">
              <a:extLst>
                <a:ext uri="{FF2B5EF4-FFF2-40B4-BE49-F238E27FC236}">
                  <a16:creationId xmlns:a16="http://schemas.microsoft.com/office/drawing/2014/main" id="{91C45D5C-4D4D-3AAC-2E03-41C2CF5661F0}"/>
                </a:ext>
              </a:extLst>
            </p:cNvPr>
            <p:cNvSpPr/>
            <p:nvPr/>
          </p:nvSpPr>
          <p:spPr>
            <a:xfrm>
              <a:off x="5550683" y="566971"/>
              <a:ext cx="298932" cy="296267"/>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5" name="Oval 24">
              <a:extLst>
                <a:ext uri="{FF2B5EF4-FFF2-40B4-BE49-F238E27FC236}">
                  <a16:creationId xmlns:a16="http://schemas.microsoft.com/office/drawing/2014/main" id="{5C87D107-7303-1A2D-9796-669F7F200DA5}"/>
                </a:ext>
              </a:extLst>
            </p:cNvPr>
            <p:cNvSpPr/>
            <p:nvPr/>
          </p:nvSpPr>
          <p:spPr>
            <a:xfrm>
              <a:off x="5270366" y="842471"/>
              <a:ext cx="298932" cy="296267"/>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6" name="Oval 25">
              <a:extLst>
                <a:ext uri="{FF2B5EF4-FFF2-40B4-BE49-F238E27FC236}">
                  <a16:creationId xmlns:a16="http://schemas.microsoft.com/office/drawing/2014/main" id="{C0C3241C-C25F-18D7-F8FA-7BB85E08C7BF}"/>
                </a:ext>
              </a:extLst>
            </p:cNvPr>
            <p:cNvSpPr/>
            <p:nvPr/>
          </p:nvSpPr>
          <p:spPr>
            <a:xfrm>
              <a:off x="5657532" y="930161"/>
              <a:ext cx="298932" cy="296267"/>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7" name="Oval 26">
              <a:extLst>
                <a:ext uri="{FF2B5EF4-FFF2-40B4-BE49-F238E27FC236}">
                  <a16:creationId xmlns:a16="http://schemas.microsoft.com/office/drawing/2014/main" id="{287D2D31-9CEE-8845-0A1A-6D3FFE565B0B}"/>
                </a:ext>
              </a:extLst>
            </p:cNvPr>
            <p:cNvSpPr/>
            <p:nvPr/>
          </p:nvSpPr>
          <p:spPr>
            <a:xfrm>
              <a:off x="5241102" y="1199944"/>
              <a:ext cx="160206" cy="118906"/>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8" name="Oval 27">
              <a:extLst>
                <a:ext uri="{FF2B5EF4-FFF2-40B4-BE49-F238E27FC236}">
                  <a16:creationId xmlns:a16="http://schemas.microsoft.com/office/drawing/2014/main" id="{216E5F10-21A3-F077-924C-5669FF7B1BFF}"/>
                </a:ext>
              </a:extLst>
            </p:cNvPr>
            <p:cNvSpPr/>
            <p:nvPr/>
          </p:nvSpPr>
          <p:spPr>
            <a:xfrm>
              <a:off x="5518680" y="1199944"/>
              <a:ext cx="160206" cy="118906"/>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9" name="Oval 28">
              <a:extLst>
                <a:ext uri="{FF2B5EF4-FFF2-40B4-BE49-F238E27FC236}">
                  <a16:creationId xmlns:a16="http://schemas.microsoft.com/office/drawing/2014/main" id="{ED0FA13D-3B2E-038B-5D6F-B33FD74610DF}"/>
                </a:ext>
              </a:extLst>
            </p:cNvPr>
            <p:cNvSpPr/>
            <p:nvPr/>
          </p:nvSpPr>
          <p:spPr>
            <a:xfrm>
              <a:off x="5774040" y="1341342"/>
              <a:ext cx="160206" cy="118906"/>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30" name="Oval 29">
              <a:extLst>
                <a:ext uri="{FF2B5EF4-FFF2-40B4-BE49-F238E27FC236}">
                  <a16:creationId xmlns:a16="http://schemas.microsoft.com/office/drawing/2014/main" id="{1FFBE668-C97B-49F9-EC87-CD6862A99865}"/>
                </a:ext>
              </a:extLst>
            </p:cNvPr>
            <p:cNvSpPr/>
            <p:nvPr/>
          </p:nvSpPr>
          <p:spPr>
            <a:xfrm>
              <a:off x="5328989" y="639682"/>
              <a:ext cx="160206" cy="118906"/>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31" name="Oval 30">
              <a:extLst>
                <a:ext uri="{FF2B5EF4-FFF2-40B4-BE49-F238E27FC236}">
                  <a16:creationId xmlns:a16="http://schemas.microsoft.com/office/drawing/2014/main" id="{B2EF661B-5089-DA43-D585-FCC4F69514E3}"/>
                </a:ext>
              </a:extLst>
            </p:cNvPr>
            <p:cNvSpPr/>
            <p:nvPr/>
          </p:nvSpPr>
          <p:spPr>
            <a:xfrm>
              <a:off x="5409092" y="1346281"/>
              <a:ext cx="160206" cy="118906"/>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grpSp>
        <p:nvGrpSpPr>
          <p:cNvPr id="32" name="Group 31">
            <a:extLst>
              <a:ext uri="{FF2B5EF4-FFF2-40B4-BE49-F238E27FC236}">
                <a16:creationId xmlns:a16="http://schemas.microsoft.com/office/drawing/2014/main" id="{2F1895D0-6213-8035-E137-B2D6C89170F5}"/>
              </a:ext>
            </a:extLst>
          </p:cNvPr>
          <p:cNvGrpSpPr/>
          <p:nvPr/>
        </p:nvGrpSpPr>
        <p:grpSpPr>
          <a:xfrm>
            <a:off x="855135" y="1773278"/>
            <a:ext cx="953816" cy="1197621"/>
            <a:chOff x="5241102" y="566971"/>
            <a:chExt cx="715362" cy="898216"/>
          </a:xfrm>
          <a:solidFill>
            <a:schemeClr val="bg1"/>
          </a:solidFill>
        </p:grpSpPr>
        <p:sp>
          <p:nvSpPr>
            <p:cNvPr id="33" name="Oval 32">
              <a:extLst>
                <a:ext uri="{FF2B5EF4-FFF2-40B4-BE49-F238E27FC236}">
                  <a16:creationId xmlns:a16="http://schemas.microsoft.com/office/drawing/2014/main" id="{8957B02A-560D-30D3-638F-167C30F1017A}"/>
                </a:ext>
              </a:extLst>
            </p:cNvPr>
            <p:cNvSpPr/>
            <p:nvPr/>
          </p:nvSpPr>
          <p:spPr>
            <a:xfrm>
              <a:off x="5550683" y="566971"/>
              <a:ext cx="298932" cy="296267"/>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34" name="Oval 33">
              <a:extLst>
                <a:ext uri="{FF2B5EF4-FFF2-40B4-BE49-F238E27FC236}">
                  <a16:creationId xmlns:a16="http://schemas.microsoft.com/office/drawing/2014/main" id="{52F2291C-F53F-706E-6A5F-D6B93A18A3C5}"/>
                </a:ext>
              </a:extLst>
            </p:cNvPr>
            <p:cNvSpPr/>
            <p:nvPr/>
          </p:nvSpPr>
          <p:spPr>
            <a:xfrm>
              <a:off x="5270366" y="842471"/>
              <a:ext cx="298932" cy="296267"/>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35" name="Oval 34">
              <a:extLst>
                <a:ext uri="{FF2B5EF4-FFF2-40B4-BE49-F238E27FC236}">
                  <a16:creationId xmlns:a16="http://schemas.microsoft.com/office/drawing/2014/main" id="{528053C7-4044-7880-4BBD-068A1B603F67}"/>
                </a:ext>
              </a:extLst>
            </p:cNvPr>
            <p:cNvSpPr/>
            <p:nvPr/>
          </p:nvSpPr>
          <p:spPr>
            <a:xfrm>
              <a:off x="5657532" y="930161"/>
              <a:ext cx="298932" cy="296267"/>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36" name="Oval 35">
              <a:extLst>
                <a:ext uri="{FF2B5EF4-FFF2-40B4-BE49-F238E27FC236}">
                  <a16:creationId xmlns:a16="http://schemas.microsoft.com/office/drawing/2014/main" id="{99E275C9-81D3-6AFE-AA5A-F7775C93400B}"/>
                </a:ext>
              </a:extLst>
            </p:cNvPr>
            <p:cNvSpPr/>
            <p:nvPr/>
          </p:nvSpPr>
          <p:spPr>
            <a:xfrm>
              <a:off x="5241102" y="1199944"/>
              <a:ext cx="160206" cy="118906"/>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37" name="Oval 36">
              <a:extLst>
                <a:ext uri="{FF2B5EF4-FFF2-40B4-BE49-F238E27FC236}">
                  <a16:creationId xmlns:a16="http://schemas.microsoft.com/office/drawing/2014/main" id="{CD848A34-DEF6-9FDA-20C3-5EFF16203E4A}"/>
                </a:ext>
              </a:extLst>
            </p:cNvPr>
            <p:cNvSpPr/>
            <p:nvPr/>
          </p:nvSpPr>
          <p:spPr>
            <a:xfrm>
              <a:off x="5518680" y="1199944"/>
              <a:ext cx="160206" cy="118906"/>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38" name="Oval 37">
              <a:extLst>
                <a:ext uri="{FF2B5EF4-FFF2-40B4-BE49-F238E27FC236}">
                  <a16:creationId xmlns:a16="http://schemas.microsoft.com/office/drawing/2014/main" id="{E5AE81F9-60C4-98ED-7434-5734629F63E2}"/>
                </a:ext>
              </a:extLst>
            </p:cNvPr>
            <p:cNvSpPr/>
            <p:nvPr/>
          </p:nvSpPr>
          <p:spPr>
            <a:xfrm>
              <a:off x="5774040" y="1341342"/>
              <a:ext cx="160206" cy="118906"/>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39" name="Oval 38">
              <a:extLst>
                <a:ext uri="{FF2B5EF4-FFF2-40B4-BE49-F238E27FC236}">
                  <a16:creationId xmlns:a16="http://schemas.microsoft.com/office/drawing/2014/main" id="{EA79D7FB-0463-C834-5666-7F88200C97DB}"/>
                </a:ext>
              </a:extLst>
            </p:cNvPr>
            <p:cNvSpPr/>
            <p:nvPr/>
          </p:nvSpPr>
          <p:spPr>
            <a:xfrm>
              <a:off x="5328989" y="639682"/>
              <a:ext cx="160206" cy="118906"/>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40" name="Oval 39">
              <a:extLst>
                <a:ext uri="{FF2B5EF4-FFF2-40B4-BE49-F238E27FC236}">
                  <a16:creationId xmlns:a16="http://schemas.microsoft.com/office/drawing/2014/main" id="{6709D94B-7FD7-A00A-4429-CFD55EE5E358}"/>
                </a:ext>
              </a:extLst>
            </p:cNvPr>
            <p:cNvSpPr/>
            <p:nvPr/>
          </p:nvSpPr>
          <p:spPr>
            <a:xfrm>
              <a:off x="5409092" y="1346281"/>
              <a:ext cx="160206" cy="118906"/>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grpSp>
        <p:nvGrpSpPr>
          <p:cNvPr id="41" name="Group 40">
            <a:extLst>
              <a:ext uri="{FF2B5EF4-FFF2-40B4-BE49-F238E27FC236}">
                <a16:creationId xmlns:a16="http://schemas.microsoft.com/office/drawing/2014/main" id="{F112913F-E73B-BF9B-30C9-C28566CCE628}"/>
              </a:ext>
            </a:extLst>
          </p:cNvPr>
          <p:cNvGrpSpPr/>
          <p:nvPr/>
        </p:nvGrpSpPr>
        <p:grpSpPr>
          <a:xfrm>
            <a:off x="1159584" y="2555288"/>
            <a:ext cx="953816" cy="1197621"/>
            <a:chOff x="5241102" y="566971"/>
            <a:chExt cx="715362" cy="898216"/>
          </a:xfrm>
          <a:solidFill>
            <a:schemeClr val="bg1"/>
          </a:solidFill>
        </p:grpSpPr>
        <p:sp>
          <p:nvSpPr>
            <p:cNvPr id="42" name="Oval 41">
              <a:extLst>
                <a:ext uri="{FF2B5EF4-FFF2-40B4-BE49-F238E27FC236}">
                  <a16:creationId xmlns:a16="http://schemas.microsoft.com/office/drawing/2014/main" id="{81FCA8C6-03F6-96F9-942E-A265061BD651}"/>
                </a:ext>
              </a:extLst>
            </p:cNvPr>
            <p:cNvSpPr/>
            <p:nvPr/>
          </p:nvSpPr>
          <p:spPr>
            <a:xfrm>
              <a:off x="5550683" y="566971"/>
              <a:ext cx="298932" cy="296267"/>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43" name="Oval 42">
              <a:extLst>
                <a:ext uri="{FF2B5EF4-FFF2-40B4-BE49-F238E27FC236}">
                  <a16:creationId xmlns:a16="http://schemas.microsoft.com/office/drawing/2014/main" id="{FB16CDD0-8D11-03B7-4168-E77F653A94D4}"/>
                </a:ext>
              </a:extLst>
            </p:cNvPr>
            <p:cNvSpPr/>
            <p:nvPr/>
          </p:nvSpPr>
          <p:spPr>
            <a:xfrm>
              <a:off x="5270366" y="842471"/>
              <a:ext cx="298932" cy="296267"/>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44" name="Oval 43">
              <a:extLst>
                <a:ext uri="{FF2B5EF4-FFF2-40B4-BE49-F238E27FC236}">
                  <a16:creationId xmlns:a16="http://schemas.microsoft.com/office/drawing/2014/main" id="{5850BACF-3C7C-E5DB-6D62-40F1FFF0A97D}"/>
                </a:ext>
              </a:extLst>
            </p:cNvPr>
            <p:cNvSpPr/>
            <p:nvPr/>
          </p:nvSpPr>
          <p:spPr>
            <a:xfrm>
              <a:off x="5657532" y="930161"/>
              <a:ext cx="298932" cy="296267"/>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45" name="Oval 44">
              <a:extLst>
                <a:ext uri="{FF2B5EF4-FFF2-40B4-BE49-F238E27FC236}">
                  <a16:creationId xmlns:a16="http://schemas.microsoft.com/office/drawing/2014/main" id="{9BA70CEF-6559-2E12-6625-CA916D55ACCC}"/>
                </a:ext>
              </a:extLst>
            </p:cNvPr>
            <p:cNvSpPr/>
            <p:nvPr/>
          </p:nvSpPr>
          <p:spPr>
            <a:xfrm>
              <a:off x="5241102" y="1199944"/>
              <a:ext cx="160206" cy="118906"/>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46" name="Oval 45">
              <a:extLst>
                <a:ext uri="{FF2B5EF4-FFF2-40B4-BE49-F238E27FC236}">
                  <a16:creationId xmlns:a16="http://schemas.microsoft.com/office/drawing/2014/main" id="{6DFA3AC5-E0EC-FE48-8805-C498909A0986}"/>
                </a:ext>
              </a:extLst>
            </p:cNvPr>
            <p:cNvSpPr/>
            <p:nvPr/>
          </p:nvSpPr>
          <p:spPr>
            <a:xfrm>
              <a:off x="5518680" y="1199944"/>
              <a:ext cx="160206" cy="118906"/>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47" name="Oval 46">
              <a:extLst>
                <a:ext uri="{FF2B5EF4-FFF2-40B4-BE49-F238E27FC236}">
                  <a16:creationId xmlns:a16="http://schemas.microsoft.com/office/drawing/2014/main" id="{90FF7BFE-7413-F575-8109-85B6A7C2559B}"/>
                </a:ext>
              </a:extLst>
            </p:cNvPr>
            <p:cNvSpPr/>
            <p:nvPr/>
          </p:nvSpPr>
          <p:spPr>
            <a:xfrm>
              <a:off x="5774040" y="1341342"/>
              <a:ext cx="160206" cy="118906"/>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48" name="Oval 47">
              <a:extLst>
                <a:ext uri="{FF2B5EF4-FFF2-40B4-BE49-F238E27FC236}">
                  <a16:creationId xmlns:a16="http://schemas.microsoft.com/office/drawing/2014/main" id="{A31F8D17-68EE-9106-5D3E-9579F662F346}"/>
                </a:ext>
              </a:extLst>
            </p:cNvPr>
            <p:cNvSpPr/>
            <p:nvPr/>
          </p:nvSpPr>
          <p:spPr>
            <a:xfrm>
              <a:off x="5328989" y="639682"/>
              <a:ext cx="160206" cy="118906"/>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49" name="Oval 48">
              <a:extLst>
                <a:ext uri="{FF2B5EF4-FFF2-40B4-BE49-F238E27FC236}">
                  <a16:creationId xmlns:a16="http://schemas.microsoft.com/office/drawing/2014/main" id="{2EC32360-0B8C-9DE9-9C82-830F015082D3}"/>
                </a:ext>
              </a:extLst>
            </p:cNvPr>
            <p:cNvSpPr/>
            <p:nvPr/>
          </p:nvSpPr>
          <p:spPr>
            <a:xfrm>
              <a:off x="5409092" y="1346281"/>
              <a:ext cx="160206" cy="118906"/>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grpSp>
        <p:nvGrpSpPr>
          <p:cNvPr id="50" name="Group 49">
            <a:extLst>
              <a:ext uri="{FF2B5EF4-FFF2-40B4-BE49-F238E27FC236}">
                <a16:creationId xmlns:a16="http://schemas.microsoft.com/office/drawing/2014/main" id="{9A8699DE-77D6-28BC-9B4F-68937A15E1AF}"/>
              </a:ext>
            </a:extLst>
          </p:cNvPr>
          <p:cNvGrpSpPr/>
          <p:nvPr/>
        </p:nvGrpSpPr>
        <p:grpSpPr>
          <a:xfrm>
            <a:off x="1305211" y="2653656"/>
            <a:ext cx="953816" cy="1197621"/>
            <a:chOff x="5241102" y="566971"/>
            <a:chExt cx="715362" cy="898216"/>
          </a:xfrm>
          <a:solidFill>
            <a:schemeClr val="bg1"/>
          </a:solidFill>
        </p:grpSpPr>
        <p:sp>
          <p:nvSpPr>
            <p:cNvPr id="51" name="Oval 50">
              <a:extLst>
                <a:ext uri="{FF2B5EF4-FFF2-40B4-BE49-F238E27FC236}">
                  <a16:creationId xmlns:a16="http://schemas.microsoft.com/office/drawing/2014/main" id="{2F526CB0-1951-F678-D40A-1013D990AE1F}"/>
                </a:ext>
              </a:extLst>
            </p:cNvPr>
            <p:cNvSpPr/>
            <p:nvPr/>
          </p:nvSpPr>
          <p:spPr>
            <a:xfrm>
              <a:off x="5550683" y="566971"/>
              <a:ext cx="298932" cy="296267"/>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52" name="Oval 51">
              <a:extLst>
                <a:ext uri="{FF2B5EF4-FFF2-40B4-BE49-F238E27FC236}">
                  <a16:creationId xmlns:a16="http://schemas.microsoft.com/office/drawing/2014/main" id="{5EBDDB02-AF8F-E531-B21E-7DB08751FC86}"/>
                </a:ext>
              </a:extLst>
            </p:cNvPr>
            <p:cNvSpPr/>
            <p:nvPr/>
          </p:nvSpPr>
          <p:spPr>
            <a:xfrm>
              <a:off x="5270366" y="842471"/>
              <a:ext cx="298932" cy="296267"/>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53" name="Oval 52">
              <a:extLst>
                <a:ext uri="{FF2B5EF4-FFF2-40B4-BE49-F238E27FC236}">
                  <a16:creationId xmlns:a16="http://schemas.microsoft.com/office/drawing/2014/main" id="{CEC4363E-BE42-5979-3BE8-C6E3A7422A7D}"/>
                </a:ext>
              </a:extLst>
            </p:cNvPr>
            <p:cNvSpPr/>
            <p:nvPr/>
          </p:nvSpPr>
          <p:spPr>
            <a:xfrm>
              <a:off x="5657532" y="930161"/>
              <a:ext cx="298932" cy="296267"/>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54" name="Oval 53">
              <a:extLst>
                <a:ext uri="{FF2B5EF4-FFF2-40B4-BE49-F238E27FC236}">
                  <a16:creationId xmlns:a16="http://schemas.microsoft.com/office/drawing/2014/main" id="{8BC8EA6E-6574-0CFD-9743-E777F9D8691C}"/>
                </a:ext>
              </a:extLst>
            </p:cNvPr>
            <p:cNvSpPr/>
            <p:nvPr/>
          </p:nvSpPr>
          <p:spPr>
            <a:xfrm>
              <a:off x="5241102" y="1199944"/>
              <a:ext cx="160206" cy="118906"/>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55" name="Oval 54">
              <a:extLst>
                <a:ext uri="{FF2B5EF4-FFF2-40B4-BE49-F238E27FC236}">
                  <a16:creationId xmlns:a16="http://schemas.microsoft.com/office/drawing/2014/main" id="{B0BDA065-11A8-53F2-8D53-245BEDF507BF}"/>
                </a:ext>
              </a:extLst>
            </p:cNvPr>
            <p:cNvSpPr/>
            <p:nvPr/>
          </p:nvSpPr>
          <p:spPr>
            <a:xfrm>
              <a:off x="5518680" y="1199944"/>
              <a:ext cx="160206" cy="118906"/>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56" name="Oval 55">
              <a:extLst>
                <a:ext uri="{FF2B5EF4-FFF2-40B4-BE49-F238E27FC236}">
                  <a16:creationId xmlns:a16="http://schemas.microsoft.com/office/drawing/2014/main" id="{BF5A5271-B81A-7AF0-3B2A-4D559AB36B50}"/>
                </a:ext>
              </a:extLst>
            </p:cNvPr>
            <p:cNvSpPr/>
            <p:nvPr/>
          </p:nvSpPr>
          <p:spPr>
            <a:xfrm>
              <a:off x="5774040" y="1341342"/>
              <a:ext cx="160206" cy="118906"/>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57" name="Oval 56">
              <a:extLst>
                <a:ext uri="{FF2B5EF4-FFF2-40B4-BE49-F238E27FC236}">
                  <a16:creationId xmlns:a16="http://schemas.microsoft.com/office/drawing/2014/main" id="{D4DF5A45-8927-F8BF-0791-83DCC8E5EDB1}"/>
                </a:ext>
              </a:extLst>
            </p:cNvPr>
            <p:cNvSpPr/>
            <p:nvPr/>
          </p:nvSpPr>
          <p:spPr>
            <a:xfrm>
              <a:off x="5328989" y="639682"/>
              <a:ext cx="160206" cy="118906"/>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58" name="Oval 57">
              <a:extLst>
                <a:ext uri="{FF2B5EF4-FFF2-40B4-BE49-F238E27FC236}">
                  <a16:creationId xmlns:a16="http://schemas.microsoft.com/office/drawing/2014/main" id="{E79FF3DE-E880-35CA-60C6-9135AF8D223B}"/>
                </a:ext>
              </a:extLst>
            </p:cNvPr>
            <p:cNvSpPr/>
            <p:nvPr/>
          </p:nvSpPr>
          <p:spPr>
            <a:xfrm>
              <a:off x="5409092" y="1346281"/>
              <a:ext cx="160206" cy="118906"/>
            </a:xfrm>
            <a:prstGeom prst="ellipse">
              <a:avLst/>
            </a:prstGeom>
            <a:grpFill/>
            <a:ln>
              <a:solidFill>
                <a:srgbClr val="0089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sp>
        <p:nvSpPr>
          <p:cNvPr id="59" name="Oval 58">
            <a:extLst>
              <a:ext uri="{FF2B5EF4-FFF2-40B4-BE49-F238E27FC236}">
                <a16:creationId xmlns:a16="http://schemas.microsoft.com/office/drawing/2014/main" id="{7E6BCF09-E977-BBBA-130A-898FC2F012C6}"/>
              </a:ext>
            </a:extLst>
          </p:cNvPr>
          <p:cNvSpPr/>
          <p:nvPr/>
        </p:nvSpPr>
        <p:spPr bwMode="auto">
          <a:xfrm rot="16200000">
            <a:off x="5898364" y="3337341"/>
            <a:ext cx="584008" cy="233923"/>
          </a:xfrm>
          <a:prstGeom prst="ellipse">
            <a:avLst/>
          </a:prstGeom>
          <a:gradFill flip="none" rotWithShape="1">
            <a:gsLst>
              <a:gs pos="0">
                <a:schemeClr val="bg1">
                  <a:alpha val="75000"/>
                </a:schemeClr>
              </a:gs>
              <a:gs pos="100000">
                <a:schemeClr val="bg1">
                  <a:lumMod val="75000"/>
                  <a:alpha val="75000"/>
                </a:schemeClr>
              </a:gs>
            </a:gsLst>
            <a:lin ang="5400000" scaled="1"/>
            <a:tileRect/>
          </a:gra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60" name="Speech Bubble: Oval 59">
            <a:extLst>
              <a:ext uri="{FF2B5EF4-FFF2-40B4-BE49-F238E27FC236}">
                <a16:creationId xmlns:a16="http://schemas.microsoft.com/office/drawing/2014/main" id="{CDA50D6A-C96A-72F4-A759-12BCF8E5C361}"/>
              </a:ext>
            </a:extLst>
          </p:cNvPr>
          <p:cNvSpPr/>
          <p:nvPr/>
        </p:nvSpPr>
        <p:spPr>
          <a:xfrm rot="9759786">
            <a:off x="6224577" y="3787790"/>
            <a:ext cx="198044" cy="314325"/>
          </a:xfrm>
          <a:prstGeom prst="wedgeEllipseCallou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61" name="Speech Bubble: Oval 60">
            <a:extLst>
              <a:ext uri="{FF2B5EF4-FFF2-40B4-BE49-F238E27FC236}">
                <a16:creationId xmlns:a16="http://schemas.microsoft.com/office/drawing/2014/main" id="{C7262969-0F27-9C49-5527-C4693BD2F57A}"/>
              </a:ext>
            </a:extLst>
          </p:cNvPr>
          <p:cNvSpPr/>
          <p:nvPr/>
        </p:nvSpPr>
        <p:spPr>
          <a:xfrm rot="9759786">
            <a:off x="6259609" y="3736146"/>
            <a:ext cx="198044" cy="314325"/>
          </a:xfrm>
          <a:prstGeom prst="wedgeEllipseCallou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62" name="Speech Bubble: Oval 61">
            <a:extLst>
              <a:ext uri="{FF2B5EF4-FFF2-40B4-BE49-F238E27FC236}">
                <a16:creationId xmlns:a16="http://schemas.microsoft.com/office/drawing/2014/main" id="{C2C713A6-86CD-DCAE-03F8-4CFFC592A873}"/>
              </a:ext>
            </a:extLst>
          </p:cNvPr>
          <p:cNvSpPr/>
          <p:nvPr/>
        </p:nvSpPr>
        <p:spPr>
          <a:xfrm rot="9759786">
            <a:off x="6273373" y="3768675"/>
            <a:ext cx="198044" cy="314325"/>
          </a:xfrm>
          <a:prstGeom prst="wedgeEllipseCallou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63" name="Speech Bubble: Oval 62">
            <a:extLst>
              <a:ext uri="{FF2B5EF4-FFF2-40B4-BE49-F238E27FC236}">
                <a16:creationId xmlns:a16="http://schemas.microsoft.com/office/drawing/2014/main" id="{BC8588B9-03E0-A273-955D-A629E7B3FE61}"/>
              </a:ext>
            </a:extLst>
          </p:cNvPr>
          <p:cNvSpPr/>
          <p:nvPr/>
        </p:nvSpPr>
        <p:spPr>
          <a:xfrm rot="9759786">
            <a:off x="6216311" y="3763040"/>
            <a:ext cx="198044" cy="314325"/>
          </a:xfrm>
          <a:prstGeom prst="wedgeEllipseCallou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64" name="Speech Bubble: Oval 63">
            <a:extLst>
              <a:ext uri="{FF2B5EF4-FFF2-40B4-BE49-F238E27FC236}">
                <a16:creationId xmlns:a16="http://schemas.microsoft.com/office/drawing/2014/main" id="{768DCBAA-D3A5-FA13-302C-0B2677D4A3E5}"/>
              </a:ext>
            </a:extLst>
          </p:cNvPr>
          <p:cNvSpPr/>
          <p:nvPr/>
        </p:nvSpPr>
        <p:spPr>
          <a:xfrm rot="9759786">
            <a:off x="6220447" y="3768675"/>
            <a:ext cx="198044" cy="314325"/>
          </a:xfrm>
          <a:prstGeom prst="wedgeEllipseCallou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65" name="Speech Bubble: Oval 64">
            <a:extLst>
              <a:ext uri="{FF2B5EF4-FFF2-40B4-BE49-F238E27FC236}">
                <a16:creationId xmlns:a16="http://schemas.microsoft.com/office/drawing/2014/main" id="{BFD8A0F8-6E80-97BC-A124-7B9307D8F38A}"/>
              </a:ext>
            </a:extLst>
          </p:cNvPr>
          <p:cNvSpPr/>
          <p:nvPr/>
        </p:nvSpPr>
        <p:spPr>
          <a:xfrm rot="9759786">
            <a:off x="6251345" y="3757404"/>
            <a:ext cx="198044" cy="314325"/>
          </a:xfrm>
          <a:prstGeom prst="wedgeEllipseCallou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66" name="Speech Bubble: Oval 65">
            <a:extLst>
              <a:ext uri="{FF2B5EF4-FFF2-40B4-BE49-F238E27FC236}">
                <a16:creationId xmlns:a16="http://schemas.microsoft.com/office/drawing/2014/main" id="{A6B7C937-8795-99DD-2694-2D977C0CDCD6}"/>
              </a:ext>
            </a:extLst>
          </p:cNvPr>
          <p:cNvSpPr/>
          <p:nvPr/>
        </p:nvSpPr>
        <p:spPr>
          <a:xfrm rot="9759786">
            <a:off x="6256963" y="3806903"/>
            <a:ext cx="198044" cy="314325"/>
          </a:xfrm>
          <a:prstGeom prst="wedgeEllipseCallou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67" name="Speech Bubble: Oval 66">
            <a:extLst>
              <a:ext uri="{FF2B5EF4-FFF2-40B4-BE49-F238E27FC236}">
                <a16:creationId xmlns:a16="http://schemas.microsoft.com/office/drawing/2014/main" id="{3659E7F3-3997-0B90-86A3-2770D0D06952}"/>
              </a:ext>
            </a:extLst>
          </p:cNvPr>
          <p:cNvSpPr/>
          <p:nvPr/>
        </p:nvSpPr>
        <p:spPr>
          <a:xfrm rot="9759786">
            <a:off x="6261254" y="3797347"/>
            <a:ext cx="198044" cy="314325"/>
          </a:xfrm>
          <a:prstGeom prst="wedgeEllipseCallou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68" name="Speech Bubble: Oval 67">
            <a:extLst>
              <a:ext uri="{FF2B5EF4-FFF2-40B4-BE49-F238E27FC236}">
                <a16:creationId xmlns:a16="http://schemas.microsoft.com/office/drawing/2014/main" id="{0D51B535-1E15-E8FB-AB05-A72691B1CB2A}"/>
              </a:ext>
            </a:extLst>
          </p:cNvPr>
          <p:cNvSpPr/>
          <p:nvPr/>
        </p:nvSpPr>
        <p:spPr>
          <a:xfrm rot="9759786">
            <a:off x="6210042" y="3702051"/>
            <a:ext cx="198044" cy="314325"/>
          </a:xfrm>
          <a:prstGeom prst="wedgeEllipseCallou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69" name="Speech Bubble: Oval 68">
            <a:extLst>
              <a:ext uri="{FF2B5EF4-FFF2-40B4-BE49-F238E27FC236}">
                <a16:creationId xmlns:a16="http://schemas.microsoft.com/office/drawing/2014/main" id="{0563344F-88DC-E286-5DAC-12DFC895ACE1}"/>
              </a:ext>
            </a:extLst>
          </p:cNvPr>
          <p:cNvSpPr/>
          <p:nvPr/>
        </p:nvSpPr>
        <p:spPr>
          <a:xfrm rot="9759786">
            <a:off x="6228430" y="3764819"/>
            <a:ext cx="198044" cy="314325"/>
          </a:xfrm>
          <a:prstGeom prst="wedgeEllipseCallou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70" name="Speech Bubble: Oval 69">
            <a:extLst>
              <a:ext uri="{FF2B5EF4-FFF2-40B4-BE49-F238E27FC236}">
                <a16:creationId xmlns:a16="http://schemas.microsoft.com/office/drawing/2014/main" id="{6C49798D-9262-7234-95D0-CD49DAB26A02}"/>
              </a:ext>
            </a:extLst>
          </p:cNvPr>
          <p:cNvSpPr/>
          <p:nvPr/>
        </p:nvSpPr>
        <p:spPr>
          <a:xfrm rot="9759786">
            <a:off x="6234489" y="3724812"/>
            <a:ext cx="198044" cy="314325"/>
          </a:xfrm>
          <a:prstGeom prst="wedgeEllipseCallou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71" name="Speech Bubble: Oval 70">
            <a:extLst>
              <a:ext uri="{FF2B5EF4-FFF2-40B4-BE49-F238E27FC236}">
                <a16:creationId xmlns:a16="http://schemas.microsoft.com/office/drawing/2014/main" id="{5E8AFC5B-4678-5982-6CF8-B1AE4D5E81C5}"/>
              </a:ext>
            </a:extLst>
          </p:cNvPr>
          <p:cNvSpPr/>
          <p:nvPr/>
        </p:nvSpPr>
        <p:spPr>
          <a:xfrm rot="9759786">
            <a:off x="6252671" y="3786815"/>
            <a:ext cx="198044" cy="314325"/>
          </a:xfrm>
          <a:prstGeom prst="wedgeEllipseCallou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72" name="Speech Bubble: Oval 71">
            <a:extLst>
              <a:ext uri="{FF2B5EF4-FFF2-40B4-BE49-F238E27FC236}">
                <a16:creationId xmlns:a16="http://schemas.microsoft.com/office/drawing/2014/main" id="{FA1E503D-567D-6DE7-8632-9554A8DBBBBF}"/>
              </a:ext>
            </a:extLst>
          </p:cNvPr>
          <p:cNvSpPr/>
          <p:nvPr/>
        </p:nvSpPr>
        <p:spPr>
          <a:xfrm rot="9759786">
            <a:off x="6203966" y="3822736"/>
            <a:ext cx="198044" cy="314325"/>
          </a:xfrm>
          <a:prstGeom prst="wedgeEllipseCallou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73" name="Speech Bubble: Oval 72">
            <a:extLst>
              <a:ext uri="{FF2B5EF4-FFF2-40B4-BE49-F238E27FC236}">
                <a16:creationId xmlns:a16="http://schemas.microsoft.com/office/drawing/2014/main" id="{DB184403-CC89-A0CA-C15E-B100F3728158}"/>
              </a:ext>
            </a:extLst>
          </p:cNvPr>
          <p:cNvSpPr/>
          <p:nvPr/>
        </p:nvSpPr>
        <p:spPr>
          <a:xfrm rot="9759786">
            <a:off x="6234487" y="3827460"/>
            <a:ext cx="198044" cy="314325"/>
          </a:xfrm>
          <a:prstGeom prst="wedgeEllipseCallou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74" name="Speech Bubble: Oval 73">
            <a:extLst>
              <a:ext uri="{FF2B5EF4-FFF2-40B4-BE49-F238E27FC236}">
                <a16:creationId xmlns:a16="http://schemas.microsoft.com/office/drawing/2014/main" id="{BDB93850-7F10-2341-5382-12CBC2B970D8}"/>
              </a:ext>
            </a:extLst>
          </p:cNvPr>
          <p:cNvSpPr/>
          <p:nvPr/>
        </p:nvSpPr>
        <p:spPr>
          <a:xfrm rot="9759786">
            <a:off x="6298266" y="3745144"/>
            <a:ext cx="198044" cy="314325"/>
          </a:xfrm>
          <a:prstGeom prst="wedgeEllipseCallou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75" name="Speech Bubble: Oval 74">
            <a:extLst>
              <a:ext uri="{FF2B5EF4-FFF2-40B4-BE49-F238E27FC236}">
                <a16:creationId xmlns:a16="http://schemas.microsoft.com/office/drawing/2014/main" id="{ECDD00F5-4199-E621-3E1D-9272F8160EAF}"/>
              </a:ext>
            </a:extLst>
          </p:cNvPr>
          <p:cNvSpPr/>
          <p:nvPr/>
        </p:nvSpPr>
        <p:spPr>
          <a:xfrm rot="9759786">
            <a:off x="6243081" y="3791594"/>
            <a:ext cx="198044" cy="314325"/>
          </a:xfrm>
          <a:prstGeom prst="wedgeEllipseCallou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76" name="Speech Bubble: Oval 75">
            <a:extLst>
              <a:ext uri="{FF2B5EF4-FFF2-40B4-BE49-F238E27FC236}">
                <a16:creationId xmlns:a16="http://schemas.microsoft.com/office/drawing/2014/main" id="{38E16316-68DE-9F57-133D-350F3DF30789}"/>
              </a:ext>
            </a:extLst>
          </p:cNvPr>
          <p:cNvSpPr/>
          <p:nvPr/>
        </p:nvSpPr>
        <p:spPr>
          <a:xfrm rot="9759786">
            <a:off x="6276291" y="3783012"/>
            <a:ext cx="198044" cy="314325"/>
          </a:xfrm>
          <a:prstGeom prst="wedgeEllipseCallou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77" name="Speech Bubble: Oval 76">
            <a:extLst>
              <a:ext uri="{FF2B5EF4-FFF2-40B4-BE49-F238E27FC236}">
                <a16:creationId xmlns:a16="http://schemas.microsoft.com/office/drawing/2014/main" id="{4292B22D-10CE-CC84-2778-5F72F3F1206D}"/>
              </a:ext>
            </a:extLst>
          </p:cNvPr>
          <p:cNvSpPr/>
          <p:nvPr/>
        </p:nvSpPr>
        <p:spPr>
          <a:xfrm rot="9759786">
            <a:off x="6283230" y="3788574"/>
            <a:ext cx="198044" cy="314325"/>
          </a:xfrm>
          <a:prstGeom prst="wedgeEllipseCallou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graphicFrame>
        <p:nvGraphicFramePr>
          <p:cNvPr id="78" name="Diagram 77">
            <a:extLst>
              <a:ext uri="{FF2B5EF4-FFF2-40B4-BE49-F238E27FC236}">
                <a16:creationId xmlns:a16="http://schemas.microsoft.com/office/drawing/2014/main" id="{9BC654DD-3195-BB22-CAE9-F51DB7B5E09F}"/>
              </a:ext>
            </a:extLst>
          </p:cNvPr>
          <p:cNvGraphicFramePr/>
          <p:nvPr>
            <p:extLst>
              <p:ext uri="{D42A27DB-BD31-4B8C-83A1-F6EECF244321}">
                <p14:modId xmlns:p14="http://schemas.microsoft.com/office/powerpoint/2010/main" val="3366430053"/>
              </p:ext>
            </p:extLst>
          </p:nvPr>
        </p:nvGraphicFramePr>
        <p:xfrm>
          <a:off x="2294631" y="3020989"/>
          <a:ext cx="8128000" cy="537146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9" name="Text Placeholder 3">
            <a:extLst>
              <a:ext uri="{FF2B5EF4-FFF2-40B4-BE49-F238E27FC236}">
                <a16:creationId xmlns:a16="http://schemas.microsoft.com/office/drawing/2014/main" id="{CDF03631-9307-4E1D-ACA2-4DFEB612CF9C}"/>
              </a:ext>
            </a:extLst>
          </p:cNvPr>
          <p:cNvSpPr txBox="1">
            <a:spLocks/>
          </p:cNvSpPr>
          <p:nvPr/>
        </p:nvSpPr>
        <p:spPr>
          <a:xfrm>
            <a:off x="6451282" y="1434414"/>
            <a:ext cx="5778291" cy="364374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Clr>
                <a:schemeClr val="accent2"/>
              </a:buClr>
              <a:buFont typeface="Arial" panose="020B0604020202020204" pitchFamily="34" charset="0"/>
              <a:buChar char="•"/>
              <a:defRPr sz="2800" kern="1200">
                <a:solidFill>
                  <a:schemeClr val="tx1">
                    <a:lumMod val="50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2"/>
              </a:buClr>
              <a:buFont typeface="Arial" panose="020B0604020202020204" pitchFamily="34" charset="0"/>
              <a:buChar char="•"/>
              <a:defRPr sz="2400" kern="1200">
                <a:solidFill>
                  <a:schemeClr val="tx1">
                    <a:lumMod val="50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2"/>
              </a:buClr>
              <a:buFont typeface="Arial" panose="020B0604020202020204" pitchFamily="34" charset="0"/>
              <a:buChar char="•"/>
              <a:defRPr sz="2000" kern="1200">
                <a:solidFill>
                  <a:schemeClr val="tx1">
                    <a:lumMod val="50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2"/>
              </a:buClr>
              <a:buFont typeface="Arial" panose="020B0604020202020204" pitchFamily="34" charset="0"/>
              <a:buChar char="•"/>
              <a:defRPr sz="1800" kern="1200">
                <a:solidFill>
                  <a:schemeClr val="tx1">
                    <a:lumMod val="50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2"/>
              </a:buClr>
              <a:buFont typeface="Arial" panose="020B0604020202020204" pitchFamily="34" charset="0"/>
              <a:buChar char="•"/>
              <a:defRPr sz="1800" kern="1200">
                <a:solidFill>
                  <a:schemeClr val="tx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685800" marR="0" lvl="1" indent="-228600" algn="l" defTabSz="914400" rtl="0" eaLnBrk="1" fontAlgn="auto" latinLnBrk="0" hangingPunct="1">
              <a:lnSpc>
                <a:spcPct val="90000"/>
              </a:lnSpc>
              <a:spcBef>
                <a:spcPts val="500"/>
              </a:spcBef>
              <a:spcAft>
                <a:spcPts val="0"/>
              </a:spcAft>
              <a:buClr>
                <a:srgbClr val="143244"/>
              </a:buClr>
              <a:buSzTx/>
              <a:buFont typeface="Arial" panose="020B0604020202020204" pitchFamily="34" charset="0"/>
              <a:buChar char="•"/>
              <a:tabLst/>
              <a:defRPr/>
            </a:pPr>
            <a:endParaRPr kumimoji="0" lang="en-US" sz="1600" b="0" i="0" u="none" strike="noStrike" kern="1200" cap="none" spc="0" normalizeH="0" baseline="0" noProof="0" dirty="0">
              <a:ln>
                <a:noFill/>
              </a:ln>
              <a:solidFill>
                <a:srgbClr val="143244">
                  <a:lumMod val="50000"/>
                </a:srgbClr>
              </a:solidFill>
              <a:effectLst/>
              <a:uLnTx/>
              <a:uFillTx/>
              <a:latin typeface="Inter"/>
              <a:ea typeface="+mn-ea"/>
              <a:cs typeface="+mn-cs"/>
            </a:endParaRPr>
          </a:p>
        </p:txBody>
      </p:sp>
      <p:sp>
        <p:nvSpPr>
          <p:cNvPr id="80" name="Text Placeholder 2">
            <a:extLst>
              <a:ext uri="{FF2B5EF4-FFF2-40B4-BE49-F238E27FC236}">
                <a16:creationId xmlns:a16="http://schemas.microsoft.com/office/drawing/2014/main" id="{0835FA13-CE1A-A9D4-676D-D13E24704362}"/>
              </a:ext>
            </a:extLst>
          </p:cNvPr>
          <p:cNvSpPr txBox="1">
            <a:spLocks/>
          </p:cNvSpPr>
          <p:nvPr/>
        </p:nvSpPr>
        <p:spPr>
          <a:xfrm>
            <a:off x="7314500" y="982125"/>
            <a:ext cx="4825980" cy="2511263"/>
          </a:xfrm>
          <a:prstGeom prst="rect">
            <a:avLst/>
          </a:prstGeom>
          <a:solidFill>
            <a:schemeClr val="bg2"/>
          </a:solidFill>
          <a:ln>
            <a:solidFill>
              <a:schemeClr val="accent1"/>
            </a:solidFill>
          </a:ln>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70C0"/>
                </a:solidFill>
                <a:effectLst/>
                <a:uLnTx/>
                <a:uFillTx/>
                <a:latin typeface="+mj-lt"/>
                <a:ea typeface="+mn-ea"/>
                <a:cs typeface="+mn-cs"/>
              </a:rPr>
              <a:t>A 58-year-old </a:t>
            </a:r>
            <a:r>
              <a:rPr kumimoji="0" lang="en-US" sz="1050" b="1" i="0" u="none" strike="noStrike" kern="1200" cap="none" spc="0" normalizeH="0" baseline="0" noProof="0" dirty="0">
                <a:ln>
                  <a:noFill/>
                </a:ln>
                <a:solidFill>
                  <a:srgbClr val="0070C0"/>
                </a:solidFill>
                <a:effectLst>
                  <a:outerShdw blurRad="38100" dist="38100" dir="2700000" algn="tl">
                    <a:srgbClr val="000000">
                      <a:alpha val="43137"/>
                    </a:srgbClr>
                  </a:outerShdw>
                </a:effectLst>
                <a:highlight>
                  <a:srgbClr val="FFFF00"/>
                </a:highlight>
                <a:uLnTx/>
                <a:uFillTx/>
                <a:latin typeface="+mj-lt"/>
                <a:ea typeface="+mn-ea"/>
                <a:cs typeface="+mn-cs"/>
              </a:rPr>
              <a:t>Caucasian, Non-Hispanic, Catholic </a:t>
            </a:r>
            <a:r>
              <a:rPr kumimoji="0" lang="en-US" sz="1050" b="0" i="0" u="none" strike="noStrike" kern="1200" cap="none" spc="0" normalizeH="0" baseline="0" noProof="0" dirty="0">
                <a:ln>
                  <a:noFill/>
                </a:ln>
                <a:solidFill>
                  <a:srgbClr val="0070C0"/>
                </a:solidFill>
                <a:effectLst/>
                <a:uLnTx/>
                <a:uFillTx/>
                <a:latin typeface="+mj-lt"/>
                <a:ea typeface="+mn-ea"/>
                <a:cs typeface="+mn-cs"/>
              </a:rPr>
              <a:t>male </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70C0"/>
                </a:solidFill>
                <a:effectLst/>
                <a:uLnTx/>
                <a:uFillTx/>
                <a:latin typeface="+mj-lt"/>
                <a:ea typeface="+mn-ea"/>
                <a:cs typeface="+mn-cs"/>
              </a:rPr>
              <a:t>with </a:t>
            </a:r>
            <a:r>
              <a:rPr kumimoji="0" lang="en-US" sz="1050" b="1" i="0" u="none" strike="noStrike" kern="1200" cap="none" spc="0" normalizeH="0" baseline="0" noProof="0" dirty="0">
                <a:ln>
                  <a:noFill/>
                </a:ln>
                <a:solidFill>
                  <a:srgbClr val="0070C0"/>
                </a:solidFill>
                <a:effectLst>
                  <a:outerShdw blurRad="38100" dist="38100" dir="2700000" algn="tl">
                    <a:srgbClr val="000000">
                      <a:alpha val="43137"/>
                    </a:srgbClr>
                  </a:outerShdw>
                </a:effectLst>
                <a:highlight>
                  <a:srgbClr val="FFFF00"/>
                </a:highlight>
                <a:uLnTx/>
                <a:uFillTx/>
                <a:latin typeface="+mj-lt"/>
                <a:ea typeface="+mn-ea"/>
                <a:cs typeface="+mn-cs"/>
              </a:rPr>
              <a:t>Past Medical History of Hypertension </a:t>
            </a:r>
            <a:r>
              <a:rPr kumimoji="0" lang="en-US" sz="1050" b="0" i="0" u="none" strike="noStrike" kern="1200" cap="none" spc="0" normalizeH="0" baseline="0" noProof="0" dirty="0">
                <a:ln>
                  <a:noFill/>
                </a:ln>
                <a:solidFill>
                  <a:srgbClr val="0070C0"/>
                </a:solidFill>
                <a:effectLst/>
                <a:uLnTx/>
                <a:uFillTx/>
                <a:latin typeface="+mj-lt"/>
                <a:ea typeface="+mn-ea"/>
                <a:cs typeface="+mn-cs"/>
              </a:rPr>
              <a:t>reported </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050" b="1" i="0" u="none" strike="noStrike" kern="1200" cap="none" spc="0" normalizeH="0" baseline="0" noProof="0" dirty="0">
                <a:ln>
                  <a:noFill/>
                </a:ln>
                <a:solidFill>
                  <a:srgbClr val="0070C0"/>
                </a:solidFill>
                <a:effectLst>
                  <a:outerShdw blurRad="38100" dist="38100" dir="2700000" algn="tl">
                    <a:srgbClr val="000000">
                      <a:alpha val="43137"/>
                    </a:srgbClr>
                  </a:outerShdw>
                </a:effectLst>
                <a:highlight>
                  <a:srgbClr val="FFFF00"/>
                </a:highlight>
                <a:uLnTx/>
                <a:uFillTx/>
                <a:latin typeface="+mj-lt"/>
                <a:ea typeface="+mn-ea"/>
                <a:cs typeface="+mn-cs"/>
              </a:rPr>
              <a:t>Medications</a:t>
            </a:r>
            <a:r>
              <a:rPr kumimoji="0" lang="en-US" sz="1050" b="0" i="0" u="none" strike="noStrike" kern="1200" cap="none" spc="0" normalizeH="0" baseline="0" noProof="0" dirty="0">
                <a:ln>
                  <a:noFill/>
                </a:ln>
                <a:solidFill>
                  <a:srgbClr val="0070C0"/>
                </a:solidFill>
                <a:effectLst/>
                <a:uLnTx/>
                <a:uFillTx/>
                <a:latin typeface="+mj-lt"/>
                <a:ea typeface="+mn-ea"/>
                <a:cs typeface="+mn-cs"/>
              </a:rPr>
              <a:t>: Amlodipine 5 mg PO QD</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70C0"/>
                </a:solidFill>
                <a:effectLst/>
                <a:uLnTx/>
                <a:uFillTx/>
                <a:latin typeface="+mj-lt"/>
                <a:ea typeface="+mn-ea"/>
                <a:cs typeface="+mn-cs"/>
              </a:rPr>
              <a:t>presents to an urgent care center on a Saturday morning at 9:30 AM with </a:t>
            </a:r>
            <a:r>
              <a:rPr kumimoji="0" lang="en-US" sz="1050" b="1" i="0" u="none" strike="noStrike" kern="1200" cap="none" spc="0" normalizeH="0" baseline="0" noProof="0" dirty="0">
                <a:ln>
                  <a:noFill/>
                </a:ln>
                <a:solidFill>
                  <a:srgbClr val="0070C0"/>
                </a:solidFill>
                <a:effectLst>
                  <a:outerShdw blurRad="38100" dist="38100" dir="2700000" algn="tl">
                    <a:srgbClr val="000000">
                      <a:alpha val="43137"/>
                    </a:srgbClr>
                  </a:outerShdw>
                </a:effectLst>
                <a:highlight>
                  <a:srgbClr val="FFFF00"/>
                </a:highlight>
                <a:uLnTx/>
                <a:uFillTx/>
                <a:latin typeface="+mj-lt"/>
                <a:ea typeface="+mn-ea"/>
                <a:cs typeface="+mn-cs"/>
              </a:rPr>
              <a:t>Chief Complaint of a Head Laceration </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050" b="1" i="0" u="none" strike="noStrike" kern="1200" cap="none" spc="0" normalizeH="0" baseline="0" noProof="0" dirty="0">
                <a:ln>
                  <a:noFill/>
                </a:ln>
                <a:solidFill>
                  <a:srgbClr val="0070C0"/>
                </a:solidFill>
                <a:effectLst>
                  <a:outerShdw blurRad="38100" dist="38100" dir="2700000" algn="tl">
                    <a:srgbClr val="000000">
                      <a:alpha val="43137"/>
                    </a:srgbClr>
                  </a:outerShdw>
                </a:effectLst>
                <a:highlight>
                  <a:srgbClr val="FFFF00"/>
                </a:highlight>
                <a:uLnTx/>
                <a:uFillTx/>
                <a:latin typeface="+mj-lt"/>
                <a:ea typeface="+mn-ea"/>
                <a:cs typeface="+mn-cs"/>
              </a:rPr>
              <a:t>History of present Illness </a:t>
            </a:r>
            <a:r>
              <a:rPr kumimoji="0" lang="en-US" sz="1050" b="0" i="0" u="none" strike="noStrike" kern="1200" cap="none" spc="0" normalizeH="0" baseline="0" noProof="0" dirty="0">
                <a:ln>
                  <a:noFill/>
                </a:ln>
                <a:solidFill>
                  <a:srgbClr val="0070C0"/>
                </a:solidFill>
                <a:effectLst/>
                <a:uLnTx/>
                <a:uFillTx/>
                <a:latin typeface="+mj-lt"/>
                <a:ea typeface="+mn-ea"/>
                <a:cs typeface="+mn-cs"/>
              </a:rPr>
              <a:t>- he sustained it during a fall at home “while gardening.”  He states that he was walking in the back yard when he tripped on a brick in his pavers that was sticking up.  He had no dizziness or lightheadedness, had no chest pain, shortness of breath, he denies weakness.  He was able to get up under his own power and other than a bleeding head laceration, has no symptoms.  </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70C0"/>
                </a:solidFill>
                <a:effectLst/>
                <a:uLnTx/>
                <a:uFillTx/>
                <a:latin typeface="+mj-lt"/>
                <a:ea typeface="+mn-ea"/>
                <a:cs typeface="+mn-cs"/>
              </a:rPr>
              <a:t>With the exception of the above – </a:t>
            </a:r>
            <a:r>
              <a:rPr kumimoji="0" lang="en-US" sz="1050" b="1" i="0" u="none" strike="noStrike" kern="1200" cap="none" spc="0" normalizeH="0" baseline="0" noProof="0" dirty="0">
                <a:ln>
                  <a:noFill/>
                </a:ln>
                <a:solidFill>
                  <a:srgbClr val="0070C0"/>
                </a:solidFill>
                <a:effectLst>
                  <a:outerShdw blurRad="38100" dist="38100" dir="2700000" algn="tl">
                    <a:srgbClr val="000000">
                      <a:alpha val="43137"/>
                    </a:srgbClr>
                  </a:outerShdw>
                </a:effectLst>
                <a:highlight>
                  <a:srgbClr val="FFFF00"/>
                </a:highlight>
                <a:uLnTx/>
                <a:uFillTx/>
                <a:latin typeface="+mj-lt"/>
                <a:ea typeface="+mn-ea"/>
                <a:cs typeface="+mn-cs"/>
              </a:rPr>
              <a:t>Review Of Systems</a:t>
            </a:r>
            <a:r>
              <a:rPr kumimoji="0" lang="en-US" sz="1050" b="0" i="0" u="none" strike="noStrike" kern="1200" cap="none" spc="0" normalizeH="0" baseline="0" noProof="0" dirty="0">
                <a:ln>
                  <a:noFill/>
                </a:ln>
                <a:solidFill>
                  <a:srgbClr val="0070C0"/>
                </a:solidFill>
                <a:effectLst/>
                <a:uLnTx/>
                <a:uFillTx/>
                <a:latin typeface="+mj-lt"/>
                <a:ea typeface="+mn-ea"/>
                <a:cs typeface="+mn-cs"/>
              </a:rPr>
              <a:t> was negative</a:t>
            </a:r>
          </a:p>
        </p:txBody>
      </p:sp>
      <p:sp>
        <p:nvSpPr>
          <p:cNvPr id="81" name="Text Placeholder 2">
            <a:extLst>
              <a:ext uri="{FF2B5EF4-FFF2-40B4-BE49-F238E27FC236}">
                <a16:creationId xmlns:a16="http://schemas.microsoft.com/office/drawing/2014/main" id="{EF1D1932-D76C-D389-D9D7-A9FC84745B7F}"/>
              </a:ext>
            </a:extLst>
          </p:cNvPr>
          <p:cNvSpPr txBox="1">
            <a:spLocks/>
          </p:cNvSpPr>
          <p:nvPr/>
        </p:nvSpPr>
        <p:spPr>
          <a:xfrm>
            <a:off x="7326429" y="3541271"/>
            <a:ext cx="4825980" cy="1708759"/>
          </a:xfrm>
          <a:prstGeom prst="rect">
            <a:avLst/>
          </a:prstGeom>
          <a:solidFill>
            <a:schemeClr val="bg2"/>
          </a:solidFill>
          <a:ln>
            <a:solidFill>
              <a:schemeClr val="tx1"/>
            </a:solidFill>
          </a:ln>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70C0"/>
                </a:solidFill>
                <a:effectLst/>
                <a:uLnTx/>
                <a:uFillTx/>
                <a:latin typeface="+mj-lt"/>
                <a:ea typeface="+mn-ea"/>
                <a:cs typeface="+mn-cs"/>
              </a:rPr>
              <a:t>A 58-year-old male </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70C0"/>
                </a:solidFill>
                <a:effectLst/>
                <a:uLnTx/>
                <a:uFillTx/>
                <a:latin typeface="+mj-lt"/>
                <a:ea typeface="+mn-ea"/>
                <a:cs typeface="+mn-cs"/>
              </a:rPr>
              <a:t>with </a:t>
            </a:r>
            <a:r>
              <a:rPr kumimoji="0" lang="en-US" sz="1050" b="1" i="0" u="none" strike="noStrike" kern="1200" cap="none" spc="0" normalizeH="0" baseline="0" noProof="0" dirty="0">
                <a:ln>
                  <a:noFill/>
                </a:ln>
                <a:solidFill>
                  <a:srgbClr val="0070C0"/>
                </a:solidFill>
                <a:effectLst>
                  <a:outerShdw blurRad="38100" dist="38100" dir="2700000" algn="tl">
                    <a:srgbClr val="000000">
                      <a:alpha val="43137"/>
                    </a:srgbClr>
                  </a:outerShdw>
                </a:effectLst>
                <a:highlight>
                  <a:srgbClr val="FFFF00"/>
                </a:highlight>
                <a:uLnTx/>
                <a:uFillTx/>
                <a:latin typeface="+mj-lt"/>
                <a:ea typeface="+mn-ea"/>
                <a:cs typeface="+mn-cs"/>
              </a:rPr>
              <a:t>Past Medical History of Hypertension </a:t>
            </a:r>
            <a:r>
              <a:rPr kumimoji="0" lang="en-US" sz="1050" b="0" i="0" u="none" strike="noStrike" kern="1200" cap="none" spc="0" normalizeH="0" baseline="0" noProof="0" dirty="0">
                <a:ln>
                  <a:noFill/>
                </a:ln>
                <a:solidFill>
                  <a:srgbClr val="0070C0"/>
                </a:solidFill>
                <a:effectLst/>
                <a:uLnTx/>
                <a:uFillTx/>
                <a:latin typeface="+mj-lt"/>
                <a:ea typeface="+mn-ea"/>
                <a:cs typeface="+mn-cs"/>
              </a:rPr>
              <a:t>reported </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050" b="1" i="0" u="none" strike="noStrike" kern="1200" cap="none" spc="0" normalizeH="0" baseline="0" noProof="0" dirty="0">
                <a:ln>
                  <a:noFill/>
                </a:ln>
                <a:solidFill>
                  <a:srgbClr val="0070C0"/>
                </a:solidFill>
                <a:effectLst>
                  <a:outerShdw blurRad="38100" dist="38100" dir="2700000" algn="tl">
                    <a:srgbClr val="000000">
                      <a:alpha val="43137"/>
                    </a:srgbClr>
                  </a:outerShdw>
                </a:effectLst>
                <a:highlight>
                  <a:srgbClr val="FFFF00"/>
                </a:highlight>
                <a:uLnTx/>
                <a:uFillTx/>
                <a:latin typeface="+mj-lt"/>
                <a:ea typeface="+mn-ea"/>
                <a:cs typeface="+mn-cs"/>
              </a:rPr>
              <a:t>Medications</a:t>
            </a:r>
            <a:r>
              <a:rPr kumimoji="0" lang="en-US" sz="1050" b="0" i="0" u="none" strike="noStrike" kern="1200" cap="none" spc="0" normalizeH="0" baseline="0" noProof="0" dirty="0">
                <a:ln>
                  <a:noFill/>
                </a:ln>
                <a:solidFill>
                  <a:srgbClr val="0070C0"/>
                </a:solidFill>
                <a:effectLst/>
                <a:uLnTx/>
                <a:uFillTx/>
                <a:latin typeface="+mj-lt"/>
                <a:ea typeface="+mn-ea"/>
                <a:cs typeface="+mn-cs"/>
              </a:rPr>
              <a:t>: Amlodipine </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050" b="1" i="0" u="none" strike="noStrike" kern="1200" cap="none" spc="0" normalizeH="0" baseline="0" noProof="0" dirty="0">
                <a:ln>
                  <a:noFill/>
                </a:ln>
                <a:solidFill>
                  <a:srgbClr val="0070C0"/>
                </a:solidFill>
                <a:effectLst>
                  <a:outerShdw blurRad="38100" dist="38100" dir="2700000" algn="tl">
                    <a:srgbClr val="000000">
                      <a:alpha val="43137"/>
                    </a:srgbClr>
                  </a:outerShdw>
                </a:effectLst>
                <a:highlight>
                  <a:srgbClr val="FFFF00"/>
                </a:highlight>
                <a:uLnTx/>
                <a:uFillTx/>
                <a:latin typeface="+mj-lt"/>
                <a:ea typeface="+mn-ea"/>
                <a:cs typeface="+mn-cs"/>
              </a:rPr>
              <a:t>Chief Complaint of a Head Laceration </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050" b="1" i="0" u="none" strike="noStrike" kern="1200" cap="none" spc="0" normalizeH="0" baseline="0" noProof="0" dirty="0">
                <a:ln>
                  <a:noFill/>
                </a:ln>
                <a:solidFill>
                  <a:srgbClr val="0070C0"/>
                </a:solidFill>
                <a:effectLst>
                  <a:outerShdw blurRad="38100" dist="38100" dir="2700000" algn="tl">
                    <a:srgbClr val="000000">
                      <a:alpha val="43137"/>
                    </a:srgbClr>
                  </a:outerShdw>
                </a:effectLst>
                <a:highlight>
                  <a:srgbClr val="FFFF00"/>
                </a:highlight>
                <a:uLnTx/>
                <a:uFillTx/>
                <a:latin typeface="+mj-lt"/>
                <a:ea typeface="+mn-ea"/>
                <a:cs typeface="+mn-cs"/>
              </a:rPr>
              <a:t>History of present Illness </a:t>
            </a:r>
            <a:r>
              <a:rPr kumimoji="0" lang="en-US" sz="1050" b="0" i="0" u="none" strike="noStrike" kern="1200" cap="none" spc="0" normalizeH="0" baseline="0" noProof="0" dirty="0">
                <a:ln>
                  <a:noFill/>
                </a:ln>
                <a:solidFill>
                  <a:srgbClr val="0070C0"/>
                </a:solidFill>
                <a:effectLst/>
                <a:uLnTx/>
                <a:uFillTx/>
                <a:latin typeface="+mj-lt"/>
                <a:ea typeface="+mn-ea"/>
                <a:cs typeface="+mn-cs"/>
              </a:rPr>
              <a:t>– Head Laceration after fall</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050" b="1" i="0" u="none" strike="noStrike" kern="1200" cap="none" spc="0" normalizeH="0" baseline="0" noProof="0" dirty="0">
                <a:ln>
                  <a:noFill/>
                </a:ln>
                <a:solidFill>
                  <a:srgbClr val="0070C0"/>
                </a:solidFill>
                <a:effectLst>
                  <a:outerShdw blurRad="38100" dist="38100" dir="2700000" algn="tl">
                    <a:srgbClr val="000000">
                      <a:alpha val="43137"/>
                    </a:srgbClr>
                  </a:outerShdw>
                </a:effectLst>
                <a:highlight>
                  <a:srgbClr val="FFFF00"/>
                </a:highlight>
                <a:uLnTx/>
                <a:uFillTx/>
                <a:latin typeface="+mj-lt"/>
                <a:ea typeface="+mn-ea"/>
                <a:cs typeface="+mn-cs"/>
              </a:rPr>
              <a:t>Review Of Systems</a:t>
            </a:r>
            <a:r>
              <a:rPr kumimoji="0" lang="en-US" sz="1050" b="0" i="0" u="none" strike="noStrike" kern="1200" cap="none" spc="0" normalizeH="0" baseline="0" noProof="0" dirty="0">
                <a:ln>
                  <a:noFill/>
                </a:ln>
                <a:solidFill>
                  <a:srgbClr val="0070C0"/>
                </a:solidFill>
                <a:effectLst/>
                <a:uLnTx/>
                <a:uFillTx/>
                <a:latin typeface="+mj-lt"/>
                <a:ea typeface="+mn-ea"/>
                <a:cs typeface="+mn-cs"/>
              </a:rPr>
              <a:t> neg</a:t>
            </a:r>
          </a:p>
        </p:txBody>
      </p:sp>
      <p:sp>
        <p:nvSpPr>
          <p:cNvPr id="82" name="Rectangle 81">
            <a:extLst>
              <a:ext uri="{FF2B5EF4-FFF2-40B4-BE49-F238E27FC236}">
                <a16:creationId xmlns:a16="http://schemas.microsoft.com/office/drawing/2014/main" id="{52653768-C701-4E99-AD82-D5F3210919DC}"/>
              </a:ext>
            </a:extLst>
          </p:cNvPr>
          <p:cNvSpPr/>
          <p:nvPr/>
        </p:nvSpPr>
        <p:spPr>
          <a:xfrm rot="16200000">
            <a:off x="6493618" y="1588981"/>
            <a:ext cx="1090748" cy="646331"/>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w="0"/>
                <a:solidFill>
                  <a:schemeClr val="tx2"/>
                </a:solidFill>
                <a:effectLst>
                  <a:outerShdw blurRad="38100" dist="25400" dir="5400000" algn="ctr" rotWithShape="0">
                    <a:srgbClr val="6E747A">
                      <a:alpha val="43000"/>
                    </a:srgbClr>
                  </a:outerShdw>
                </a:effectLst>
                <a:uLnTx/>
                <a:uFillTx/>
                <a:latin typeface="+mj-lt"/>
                <a:ea typeface="+mn-ea"/>
                <a:cs typeface="+mn-cs"/>
              </a:rPr>
              <a:t>BEST</a:t>
            </a:r>
          </a:p>
        </p:txBody>
      </p:sp>
      <p:sp>
        <p:nvSpPr>
          <p:cNvPr id="83" name="Rectangle 82">
            <a:extLst>
              <a:ext uri="{FF2B5EF4-FFF2-40B4-BE49-F238E27FC236}">
                <a16:creationId xmlns:a16="http://schemas.microsoft.com/office/drawing/2014/main" id="{F6D1677F-ECBE-746D-38DC-3CA4862E0A58}"/>
              </a:ext>
            </a:extLst>
          </p:cNvPr>
          <p:cNvSpPr/>
          <p:nvPr/>
        </p:nvSpPr>
        <p:spPr>
          <a:xfrm rot="16200000">
            <a:off x="6132012" y="3871058"/>
            <a:ext cx="1712585" cy="830997"/>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w="0"/>
                <a:solidFill>
                  <a:schemeClr val="tx2"/>
                </a:solidFill>
                <a:effectLst>
                  <a:outerShdw blurRad="38100" dist="25400" dir="5400000" algn="ctr" rotWithShape="0">
                    <a:srgbClr val="6E747A">
                      <a:alpha val="43000"/>
                    </a:srgbClr>
                  </a:outerShdw>
                </a:effectLst>
                <a:uLnTx/>
                <a:uFillTx/>
                <a:latin typeface="+mj-lt"/>
                <a:ea typeface="+mn-ea"/>
                <a:cs typeface="+mn-cs"/>
              </a:rPr>
              <a:t>WORST</a:t>
            </a:r>
            <a:r>
              <a:rPr kumimoji="0" lang="en-US" sz="4800" b="0" i="0" u="none" strike="noStrike" kern="1200" cap="none" spc="0" normalizeH="0" baseline="0" noProof="0" dirty="0">
                <a:ln w="0"/>
                <a:solidFill>
                  <a:schemeClr val="tx2"/>
                </a:solidFill>
                <a:effectLst>
                  <a:outerShdw blurRad="38100" dist="25400" dir="5400000" algn="ctr" rotWithShape="0">
                    <a:srgbClr val="6E747A">
                      <a:alpha val="43000"/>
                    </a:srgbClr>
                  </a:outerShdw>
                </a:effectLst>
                <a:uLnTx/>
                <a:uFillTx/>
                <a:latin typeface="+mj-lt"/>
                <a:ea typeface="+mn-ea"/>
                <a:cs typeface="+mn-cs"/>
              </a:rPr>
              <a:t> </a:t>
            </a:r>
          </a:p>
        </p:txBody>
      </p:sp>
    </p:spTree>
    <p:extLst>
      <p:ext uri="{BB962C8B-B14F-4D97-AF65-F5344CB8AC3E}">
        <p14:creationId xmlns:p14="http://schemas.microsoft.com/office/powerpoint/2010/main" val="3081192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up)">
                                      <p:cBhvr>
                                        <p:cTn id="7" dur="2000"/>
                                        <p:tgtEl>
                                          <p:spTgt spid="2"/>
                                        </p:tgtEl>
                                      </p:cBhvr>
                                    </p:animEffect>
                                  </p:childTnLst>
                                </p:cTn>
                              </p:par>
                              <p:par>
                                <p:cTn id="8" presetID="22" presetClass="entr" presetSubtype="1" fill="hold" nodeType="withEffect">
                                  <p:stCondLst>
                                    <p:cond delay="1000"/>
                                  </p:stCondLst>
                                  <p:childTnLst>
                                    <p:set>
                                      <p:cBhvr>
                                        <p:cTn id="9" dur="1" fill="hold">
                                          <p:stCondLst>
                                            <p:cond delay="0"/>
                                          </p:stCondLst>
                                        </p:cTn>
                                        <p:tgtEl>
                                          <p:spTgt spid="14"/>
                                        </p:tgtEl>
                                        <p:attrNameLst>
                                          <p:attrName>style.visibility</p:attrName>
                                        </p:attrNameLst>
                                      </p:cBhvr>
                                      <p:to>
                                        <p:strVal val="visible"/>
                                      </p:to>
                                    </p:set>
                                    <p:animEffect transition="in" filter="wipe(up)">
                                      <p:cBhvr>
                                        <p:cTn id="10" dur="1000"/>
                                        <p:tgtEl>
                                          <p:spTgt spid="14"/>
                                        </p:tgtEl>
                                      </p:cBhvr>
                                    </p:animEffect>
                                  </p:childTnLst>
                                </p:cTn>
                              </p:par>
                              <p:par>
                                <p:cTn id="11" presetID="8" presetClass="emph" presetSubtype="0" fill="hold" nodeType="withEffect">
                                  <p:stCondLst>
                                    <p:cond delay="0"/>
                                  </p:stCondLst>
                                  <p:childTnLst>
                                    <p:animRot by="-43200000">
                                      <p:cBhvr>
                                        <p:cTn id="12" dur="21600" fill="hold"/>
                                        <p:tgtEl>
                                          <p:spTgt spid="14"/>
                                        </p:tgtEl>
                                        <p:attrNameLst>
                                          <p:attrName>r</p:attrName>
                                        </p:attrNameLst>
                                      </p:cBhvr>
                                    </p:animRot>
                                  </p:childTnLst>
                                </p:cTn>
                              </p:par>
                              <p:par>
                                <p:cTn id="13" presetID="22" presetClass="entr" presetSubtype="1" fill="hold" nodeType="withEffect">
                                  <p:stCondLst>
                                    <p:cond delay="1700"/>
                                  </p:stCondLst>
                                  <p:childTnLst>
                                    <p:set>
                                      <p:cBhvr>
                                        <p:cTn id="14" dur="1" fill="hold">
                                          <p:stCondLst>
                                            <p:cond delay="0"/>
                                          </p:stCondLst>
                                        </p:cTn>
                                        <p:tgtEl>
                                          <p:spTgt spid="23"/>
                                        </p:tgtEl>
                                        <p:attrNameLst>
                                          <p:attrName>style.visibility</p:attrName>
                                        </p:attrNameLst>
                                      </p:cBhvr>
                                      <p:to>
                                        <p:strVal val="visible"/>
                                      </p:to>
                                    </p:set>
                                    <p:animEffect transition="in" filter="wipe(up)">
                                      <p:cBhvr>
                                        <p:cTn id="15" dur="1000"/>
                                        <p:tgtEl>
                                          <p:spTgt spid="23"/>
                                        </p:tgtEl>
                                      </p:cBhvr>
                                    </p:animEffect>
                                  </p:childTnLst>
                                </p:cTn>
                              </p:par>
                              <p:par>
                                <p:cTn id="16" presetID="8" presetClass="emph" presetSubtype="0" fill="hold" nodeType="withEffect">
                                  <p:stCondLst>
                                    <p:cond delay="2000"/>
                                  </p:stCondLst>
                                  <p:childTnLst>
                                    <p:animRot by="-43200000">
                                      <p:cBhvr>
                                        <p:cTn id="17" dur="19600" fill="hold"/>
                                        <p:tgtEl>
                                          <p:spTgt spid="23"/>
                                        </p:tgtEl>
                                        <p:attrNameLst>
                                          <p:attrName>r</p:attrName>
                                        </p:attrNameLst>
                                      </p:cBhvr>
                                    </p:animRot>
                                  </p:childTnLst>
                                </p:cTn>
                              </p:par>
                              <p:par>
                                <p:cTn id="18" presetID="22" presetClass="entr" presetSubtype="1" fill="hold" nodeType="withEffect">
                                  <p:stCondLst>
                                    <p:cond delay="2300"/>
                                  </p:stCondLst>
                                  <p:childTnLst>
                                    <p:set>
                                      <p:cBhvr>
                                        <p:cTn id="19" dur="1" fill="hold">
                                          <p:stCondLst>
                                            <p:cond delay="0"/>
                                          </p:stCondLst>
                                        </p:cTn>
                                        <p:tgtEl>
                                          <p:spTgt spid="32"/>
                                        </p:tgtEl>
                                        <p:attrNameLst>
                                          <p:attrName>style.visibility</p:attrName>
                                        </p:attrNameLst>
                                      </p:cBhvr>
                                      <p:to>
                                        <p:strVal val="visible"/>
                                      </p:to>
                                    </p:set>
                                    <p:animEffect transition="in" filter="wipe(up)">
                                      <p:cBhvr>
                                        <p:cTn id="20" dur="1000"/>
                                        <p:tgtEl>
                                          <p:spTgt spid="32"/>
                                        </p:tgtEl>
                                      </p:cBhvr>
                                    </p:animEffect>
                                  </p:childTnLst>
                                </p:cTn>
                              </p:par>
                              <p:par>
                                <p:cTn id="21" presetID="8" presetClass="emph" presetSubtype="0" fill="hold" nodeType="withEffect">
                                  <p:stCondLst>
                                    <p:cond delay="2400"/>
                                  </p:stCondLst>
                                  <p:childTnLst>
                                    <p:animRot by="-43200000">
                                      <p:cBhvr>
                                        <p:cTn id="22" dur="19200" fill="hold"/>
                                        <p:tgtEl>
                                          <p:spTgt spid="32"/>
                                        </p:tgtEl>
                                        <p:attrNameLst>
                                          <p:attrName>r</p:attrName>
                                        </p:attrNameLst>
                                      </p:cBhvr>
                                    </p:animRot>
                                  </p:childTnLst>
                                </p:cTn>
                              </p:par>
                              <p:par>
                                <p:cTn id="23" presetID="22" presetClass="entr" presetSubtype="1" fill="hold" nodeType="withEffect">
                                  <p:stCondLst>
                                    <p:cond delay="2900"/>
                                  </p:stCondLst>
                                  <p:childTnLst>
                                    <p:set>
                                      <p:cBhvr>
                                        <p:cTn id="24" dur="1" fill="hold">
                                          <p:stCondLst>
                                            <p:cond delay="0"/>
                                          </p:stCondLst>
                                        </p:cTn>
                                        <p:tgtEl>
                                          <p:spTgt spid="41"/>
                                        </p:tgtEl>
                                        <p:attrNameLst>
                                          <p:attrName>style.visibility</p:attrName>
                                        </p:attrNameLst>
                                      </p:cBhvr>
                                      <p:to>
                                        <p:strVal val="visible"/>
                                      </p:to>
                                    </p:set>
                                    <p:animEffect transition="in" filter="wipe(up)">
                                      <p:cBhvr>
                                        <p:cTn id="25" dur="1000"/>
                                        <p:tgtEl>
                                          <p:spTgt spid="41"/>
                                        </p:tgtEl>
                                      </p:cBhvr>
                                    </p:animEffect>
                                  </p:childTnLst>
                                </p:cTn>
                              </p:par>
                              <p:par>
                                <p:cTn id="26" presetID="8" presetClass="emph" presetSubtype="0" fill="hold" nodeType="withEffect">
                                  <p:stCondLst>
                                    <p:cond delay="3000"/>
                                  </p:stCondLst>
                                  <p:childTnLst>
                                    <p:animRot by="-43200000">
                                      <p:cBhvr>
                                        <p:cTn id="27" dur="18600" fill="hold"/>
                                        <p:tgtEl>
                                          <p:spTgt spid="41"/>
                                        </p:tgtEl>
                                        <p:attrNameLst>
                                          <p:attrName>r</p:attrName>
                                        </p:attrNameLst>
                                      </p:cBhvr>
                                    </p:animRot>
                                  </p:childTnLst>
                                </p:cTn>
                              </p:par>
                              <p:par>
                                <p:cTn id="28" presetID="22" presetClass="entr" presetSubtype="1" fill="hold" nodeType="withEffect">
                                  <p:stCondLst>
                                    <p:cond delay="3500"/>
                                  </p:stCondLst>
                                  <p:childTnLst>
                                    <p:set>
                                      <p:cBhvr>
                                        <p:cTn id="29" dur="1" fill="hold">
                                          <p:stCondLst>
                                            <p:cond delay="0"/>
                                          </p:stCondLst>
                                        </p:cTn>
                                        <p:tgtEl>
                                          <p:spTgt spid="50"/>
                                        </p:tgtEl>
                                        <p:attrNameLst>
                                          <p:attrName>style.visibility</p:attrName>
                                        </p:attrNameLst>
                                      </p:cBhvr>
                                      <p:to>
                                        <p:strVal val="visible"/>
                                      </p:to>
                                    </p:set>
                                    <p:animEffect transition="in" filter="wipe(up)">
                                      <p:cBhvr>
                                        <p:cTn id="30" dur="1000"/>
                                        <p:tgtEl>
                                          <p:spTgt spid="50"/>
                                        </p:tgtEl>
                                      </p:cBhvr>
                                    </p:animEffect>
                                  </p:childTnLst>
                                </p:cTn>
                              </p:par>
                              <p:par>
                                <p:cTn id="31" presetID="8" presetClass="emph" presetSubtype="0" fill="hold" nodeType="withEffect">
                                  <p:stCondLst>
                                    <p:cond delay="3600"/>
                                  </p:stCondLst>
                                  <p:childTnLst>
                                    <p:animRot by="-43200000">
                                      <p:cBhvr>
                                        <p:cTn id="32" dur="18000" fill="hold"/>
                                        <p:tgtEl>
                                          <p:spTgt spid="50"/>
                                        </p:tgtEl>
                                        <p:attrNameLst>
                                          <p:attrName>r</p:attrName>
                                        </p:attrNameLst>
                                      </p:cBhvr>
                                    </p:animRot>
                                  </p:childTnLst>
                                </p:cTn>
                              </p:par>
                              <p:par>
                                <p:cTn id="33" presetID="22" presetClass="entr" presetSubtype="1" fill="hold" grpId="0" nodeType="withEffect">
                                  <p:stCondLst>
                                    <p:cond delay="170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2000"/>
                                        <p:tgtEl>
                                          <p:spTgt spid="13"/>
                                        </p:tgtEl>
                                      </p:cBhvr>
                                    </p:animEffect>
                                  </p:childTnLst>
                                </p:cTn>
                              </p:par>
                              <p:par>
                                <p:cTn id="36" presetID="22" presetClass="entr" presetSubtype="8" fill="hold" grpId="0" nodeType="withEffect">
                                  <p:stCondLst>
                                    <p:cond delay="1700"/>
                                  </p:stCondLst>
                                  <p:childTnLst>
                                    <p:set>
                                      <p:cBhvr>
                                        <p:cTn id="37" dur="1" fill="hold">
                                          <p:stCondLst>
                                            <p:cond delay="0"/>
                                          </p:stCondLst>
                                        </p:cTn>
                                        <p:tgtEl>
                                          <p:spTgt spid="7"/>
                                        </p:tgtEl>
                                        <p:attrNameLst>
                                          <p:attrName>style.visibility</p:attrName>
                                        </p:attrNameLst>
                                      </p:cBhvr>
                                      <p:to>
                                        <p:strVal val="visible"/>
                                      </p:to>
                                    </p:set>
                                    <p:animEffect transition="in" filter="wipe(left)">
                                      <p:cBhvr>
                                        <p:cTn id="38" dur="2400"/>
                                        <p:tgtEl>
                                          <p:spTgt spid="7"/>
                                        </p:tgtEl>
                                      </p:cBhvr>
                                    </p:animEffect>
                                  </p:childTnLst>
                                </p:cTn>
                              </p:par>
                              <p:par>
                                <p:cTn id="39" presetID="22" presetClass="entr" presetSubtype="8" fill="hold" grpId="0" nodeType="withEffect">
                                  <p:stCondLst>
                                    <p:cond delay="3400"/>
                                  </p:stCondLst>
                                  <p:childTnLst>
                                    <p:set>
                                      <p:cBhvr>
                                        <p:cTn id="40" dur="1" fill="hold">
                                          <p:stCondLst>
                                            <p:cond delay="0"/>
                                          </p:stCondLst>
                                        </p:cTn>
                                        <p:tgtEl>
                                          <p:spTgt spid="6"/>
                                        </p:tgtEl>
                                        <p:attrNameLst>
                                          <p:attrName>style.visibility</p:attrName>
                                        </p:attrNameLst>
                                      </p:cBhvr>
                                      <p:to>
                                        <p:strVal val="visible"/>
                                      </p:to>
                                    </p:set>
                                    <p:animEffect transition="in" filter="wipe(left)">
                                      <p:cBhvr>
                                        <p:cTn id="41" dur="2000"/>
                                        <p:tgtEl>
                                          <p:spTgt spid="6"/>
                                        </p:tgtEl>
                                      </p:cBhvr>
                                    </p:animEffect>
                                  </p:childTnLst>
                                </p:cTn>
                              </p:par>
                              <p:par>
                                <p:cTn id="42" presetID="22" presetClass="entr" presetSubtype="8" fill="hold" grpId="0" nodeType="withEffect">
                                  <p:stCondLst>
                                    <p:cond delay="5400"/>
                                  </p:stCondLst>
                                  <p:childTnLst>
                                    <p:set>
                                      <p:cBhvr>
                                        <p:cTn id="43" dur="1" fill="hold">
                                          <p:stCondLst>
                                            <p:cond delay="0"/>
                                          </p:stCondLst>
                                        </p:cTn>
                                        <p:tgtEl>
                                          <p:spTgt spid="5"/>
                                        </p:tgtEl>
                                        <p:attrNameLst>
                                          <p:attrName>style.visibility</p:attrName>
                                        </p:attrNameLst>
                                      </p:cBhvr>
                                      <p:to>
                                        <p:strVal val="visible"/>
                                      </p:to>
                                    </p:set>
                                    <p:animEffect transition="in" filter="wipe(left)">
                                      <p:cBhvr>
                                        <p:cTn id="44" dur="2000"/>
                                        <p:tgtEl>
                                          <p:spTgt spid="5"/>
                                        </p:tgtEl>
                                      </p:cBhvr>
                                    </p:animEffect>
                                  </p:childTnLst>
                                </p:cTn>
                              </p:par>
                              <p:par>
                                <p:cTn id="45" presetID="22" presetClass="entr" presetSubtype="8" fill="hold" grpId="0" nodeType="withEffect">
                                  <p:stCondLst>
                                    <p:cond delay="6600"/>
                                  </p:stCondLst>
                                  <p:childTnLst>
                                    <p:set>
                                      <p:cBhvr>
                                        <p:cTn id="46" dur="1" fill="hold">
                                          <p:stCondLst>
                                            <p:cond delay="0"/>
                                          </p:stCondLst>
                                        </p:cTn>
                                        <p:tgtEl>
                                          <p:spTgt spid="4"/>
                                        </p:tgtEl>
                                        <p:attrNameLst>
                                          <p:attrName>style.visibility</p:attrName>
                                        </p:attrNameLst>
                                      </p:cBhvr>
                                      <p:to>
                                        <p:strVal val="visible"/>
                                      </p:to>
                                    </p:set>
                                    <p:animEffect transition="in" filter="wipe(left)">
                                      <p:cBhvr>
                                        <p:cTn id="47" dur="2000"/>
                                        <p:tgtEl>
                                          <p:spTgt spid="4"/>
                                        </p:tgtEl>
                                      </p:cBhvr>
                                    </p:animEffect>
                                  </p:childTnLst>
                                </p:cTn>
                              </p:par>
                              <p:par>
                                <p:cTn id="48" presetID="1" presetClass="entr" presetSubtype="0" fill="hold" grpId="0" nodeType="withEffect">
                                  <p:stCondLst>
                                    <p:cond delay="9400"/>
                                  </p:stCondLst>
                                  <p:childTnLst>
                                    <p:set>
                                      <p:cBhvr>
                                        <p:cTn id="49" dur="1" fill="hold">
                                          <p:stCondLst>
                                            <p:cond delay="0"/>
                                          </p:stCondLst>
                                        </p:cTn>
                                        <p:tgtEl>
                                          <p:spTgt spid="60"/>
                                        </p:tgtEl>
                                        <p:attrNameLst>
                                          <p:attrName>style.visibility</p:attrName>
                                        </p:attrNameLst>
                                      </p:cBhvr>
                                      <p:to>
                                        <p:strVal val="visible"/>
                                      </p:to>
                                    </p:set>
                                  </p:childTnLst>
                                </p:cTn>
                              </p:par>
                              <p:par>
                                <p:cTn id="50" presetID="2" presetClass="exit" presetSubtype="4" fill="hold" grpId="1" nodeType="withEffect">
                                  <p:stCondLst>
                                    <p:cond delay="9400"/>
                                  </p:stCondLst>
                                  <p:childTnLst>
                                    <p:anim calcmode="lin" valueType="num">
                                      <p:cBhvr additive="base">
                                        <p:cTn id="51" dur="1500"/>
                                        <p:tgtEl>
                                          <p:spTgt spid="60"/>
                                        </p:tgtEl>
                                        <p:attrNameLst>
                                          <p:attrName>ppt_x</p:attrName>
                                        </p:attrNameLst>
                                      </p:cBhvr>
                                      <p:tavLst>
                                        <p:tav tm="0">
                                          <p:val>
                                            <p:strVal val="ppt_x"/>
                                          </p:val>
                                        </p:tav>
                                        <p:tav tm="100000">
                                          <p:val>
                                            <p:strVal val="ppt_x"/>
                                          </p:val>
                                        </p:tav>
                                      </p:tavLst>
                                    </p:anim>
                                    <p:anim calcmode="lin" valueType="num">
                                      <p:cBhvr additive="base">
                                        <p:cTn id="52" dur="1500"/>
                                        <p:tgtEl>
                                          <p:spTgt spid="60"/>
                                        </p:tgtEl>
                                        <p:attrNameLst>
                                          <p:attrName>ppt_y</p:attrName>
                                        </p:attrNameLst>
                                      </p:cBhvr>
                                      <p:tavLst>
                                        <p:tav tm="0">
                                          <p:val>
                                            <p:strVal val="ppt_y"/>
                                          </p:val>
                                        </p:tav>
                                        <p:tav tm="100000">
                                          <p:val>
                                            <p:strVal val="1+ppt_h/2"/>
                                          </p:val>
                                        </p:tav>
                                      </p:tavLst>
                                    </p:anim>
                                    <p:set>
                                      <p:cBhvr>
                                        <p:cTn id="53" dur="1" fill="hold">
                                          <p:stCondLst>
                                            <p:cond delay="1499"/>
                                          </p:stCondLst>
                                        </p:cTn>
                                        <p:tgtEl>
                                          <p:spTgt spid="60"/>
                                        </p:tgtEl>
                                        <p:attrNameLst>
                                          <p:attrName>style.visibility</p:attrName>
                                        </p:attrNameLst>
                                      </p:cBhvr>
                                      <p:to>
                                        <p:strVal val="hidden"/>
                                      </p:to>
                                    </p:set>
                                  </p:childTnLst>
                                </p:cTn>
                              </p:par>
                              <p:par>
                                <p:cTn id="54" presetID="1" presetClass="entr" presetSubtype="0" fill="hold" grpId="0" nodeType="withEffect">
                                  <p:stCondLst>
                                    <p:cond delay="10100"/>
                                  </p:stCondLst>
                                  <p:childTnLst>
                                    <p:set>
                                      <p:cBhvr>
                                        <p:cTn id="55" dur="1" fill="hold">
                                          <p:stCondLst>
                                            <p:cond delay="0"/>
                                          </p:stCondLst>
                                        </p:cTn>
                                        <p:tgtEl>
                                          <p:spTgt spid="61"/>
                                        </p:tgtEl>
                                        <p:attrNameLst>
                                          <p:attrName>style.visibility</p:attrName>
                                        </p:attrNameLst>
                                      </p:cBhvr>
                                      <p:to>
                                        <p:strVal val="visible"/>
                                      </p:to>
                                    </p:set>
                                  </p:childTnLst>
                                </p:cTn>
                              </p:par>
                              <p:par>
                                <p:cTn id="56" presetID="2" presetClass="exit" presetSubtype="4" fill="hold" grpId="1" nodeType="withEffect">
                                  <p:stCondLst>
                                    <p:cond delay="10100"/>
                                  </p:stCondLst>
                                  <p:childTnLst>
                                    <p:anim calcmode="lin" valueType="num">
                                      <p:cBhvr additive="base">
                                        <p:cTn id="57" dur="1600"/>
                                        <p:tgtEl>
                                          <p:spTgt spid="61"/>
                                        </p:tgtEl>
                                        <p:attrNameLst>
                                          <p:attrName>ppt_x</p:attrName>
                                        </p:attrNameLst>
                                      </p:cBhvr>
                                      <p:tavLst>
                                        <p:tav tm="0">
                                          <p:val>
                                            <p:strVal val="ppt_x"/>
                                          </p:val>
                                        </p:tav>
                                        <p:tav tm="100000">
                                          <p:val>
                                            <p:strVal val="ppt_x"/>
                                          </p:val>
                                        </p:tav>
                                      </p:tavLst>
                                    </p:anim>
                                    <p:anim calcmode="lin" valueType="num">
                                      <p:cBhvr additive="base">
                                        <p:cTn id="58" dur="1600"/>
                                        <p:tgtEl>
                                          <p:spTgt spid="61"/>
                                        </p:tgtEl>
                                        <p:attrNameLst>
                                          <p:attrName>ppt_y</p:attrName>
                                        </p:attrNameLst>
                                      </p:cBhvr>
                                      <p:tavLst>
                                        <p:tav tm="0">
                                          <p:val>
                                            <p:strVal val="ppt_y"/>
                                          </p:val>
                                        </p:tav>
                                        <p:tav tm="100000">
                                          <p:val>
                                            <p:strVal val="1+ppt_h/2"/>
                                          </p:val>
                                        </p:tav>
                                      </p:tavLst>
                                    </p:anim>
                                    <p:set>
                                      <p:cBhvr>
                                        <p:cTn id="59" dur="1" fill="hold">
                                          <p:stCondLst>
                                            <p:cond delay="1599"/>
                                          </p:stCondLst>
                                        </p:cTn>
                                        <p:tgtEl>
                                          <p:spTgt spid="61"/>
                                        </p:tgtEl>
                                        <p:attrNameLst>
                                          <p:attrName>style.visibility</p:attrName>
                                        </p:attrNameLst>
                                      </p:cBhvr>
                                      <p:to>
                                        <p:strVal val="hidden"/>
                                      </p:to>
                                    </p:set>
                                  </p:childTnLst>
                                </p:cTn>
                              </p:par>
                              <p:par>
                                <p:cTn id="60" presetID="1" presetClass="entr" presetSubtype="0" fill="hold" grpId="0" nodeType="withEffect">
                                  <p:stCondLst>
                                    <p:cond delay="10600"/>
                                  </p:stCondLst>
                                  <p:childTnLst>
                                    <p:set>
                                      <p:cBhvr>
                                        <p:cTn id="61" dur="1" fill="hold">
                                          <p:stCondLst>
                                            <p:cond delay="0"/>
                                          </p:stCondLst>
                                        </p:cTn>
                                        <p:tgtEl>
                                          <p:spTgt spid="62"/>
                                        </p:tgtEl>
                                        <p:attrNameLst>
                                          <p:attrName>style.visibility</p:attrName>
                                        </p:attrNameLst>
                                      </p:cBhvr>
                                      <p:to>
                                        <p:strVal val="visible"/>
                                      </p:to>
                                    </p:set>
                                  </p:childTnLst>
                                </p:cTn>
                              </p:par>
                              <p:par>
                                <p:cTn id="62" presetID="2" presetClass="exit" presetSubtype="4" fill="hold" grpId="1" nodeType="withEffect">
                                  <p:stCondLst>
                                    <p:cond delay="10600"/>
                                  </p:stCondLst>
                                  <p:childTnLst>
                                    <p:anim calcmode="lin" valueType="num">
                                      <p:cBhvr additive="base">
                                        <p:cTn id="63" dur="1600"/>
                                        <p:tgtEl>
                                          <p:spTgt spid="62"/>
                                        </p:tgtEl>
                                        <p:attrNameLst>
                                          <p:attrName>ppt_x</p:attrName>
                                        </p:attrNameLst>
                                      </p:cBhvr>
                                      <p:tavLst>
                                        <p:tav tm="0">
                                          <p:val>
                                            <p:strVal val="ppt_x"/>
                                          </p:val>
                                        </p:tav>
                                        <p:tav tm="100000">
                                          <p:val>
                                            <p:strVal val="ppt_x"/>
                                          </p:val>
                                        </p:tav>
                                      </p:tavLst>
                                    </p:anim>
                                    <p:anim calcmode="lin" valueType="num">
                                      <p:cBhvr additive="base">
                                        <p:cTn id="64" dur="1600"/>
                                        <p:tgtEl>
                                          <p:spTgt spid="62"/>
                                        </p:tgtEl>
                                        <p:attrNameLst>
                                          <p:attrName>ppt_y</p:attrName>
                                        </p:attrNameLst>
                                      </p:cBhvr>
                                      <p:tavLst>
                                        <p:tav tm="0">
                                          <p:val>
                                            <p:strVal val="ppt_y"/>
                                          </p:val>
                                        </p:tav>
                                        <p:tav tm="100000">
                                          <p:val>
                                            <p:strVal val="1+ppt_h/2"/>
                                          </p:val>
                                        </p:tav>
                                      </p:tavLst>
                                    </p:anim>
                                    <p:set>
                                      <p:cBhvr>
                                        <p:cTn id="65" dur="1" fill="hold">
                                          <p:stCondLst>
                                            <p:cond delay="1599"/>
                                          </p:stCondLst>
                                        </p:cTn>
                                        <p:tgtEl>
                                          <p:spTgt spid="62"/>
                                        </p:tgtEl>
                                        <p:attrNameLst>
                                          <p:attrName>style.visibility</p:attrName>
                                        </p:attrNameLst>
                                      </p:cBhvr>
                                      <p:to>
                                        <p:strVal val="hidden"/>
                                      </p:to>
                                    </p:set>
                                  </p:childTnLst>
                                </p:cTn>
                              </p:par>
                              <p:par>
                                <p:cTn id="66" presetID="1" presetClass="entr" presetSubtype="0" fill="hold" grpId="0" nodeType="withEffect">
                                  <p:stCondLst>
                                    <p:cond delay="11200"/>
                                  </p:stCondLst>
                                  <p:childTnLst>
                                    <p:set>
                                      <p:cBhvr>
                                        <p:cTn id="67" dur="1" fill="hold">
                                          <p:stCondLst>
                                            <p:cond delay="0"/>
                                          </p:stCondLst>
                                        </p:cTn>
                                        <p:tgtEl>
                                          <p:spTgt spid="63"/>
                                        </p:tgtEl>
                                        <p:attrNameLst>
                                          <p:attrName>style.visibility</p:attrName>
                                        </p:attrNameLst>
                                      </p:cBhvr>
                                      <p:to>
                                        <p:strVal val="visible"/>
                                      </p:to>
                                    </p:set>
                                  </p:childTnLst>
                                </p:cTn>
                              </p:par>
                              <p:par>
                                <p:cTn id="68" presetID="2" presetClass="exit" presetSubtype="4" fill="hold" grpId="1" nodeType="withEffect">
                                  <p:stCondLst>
                                    <p:cond delay="11200"/>
                                  </p:stCondLst>
                                  <p:childTnLst>
                                    <p:anim calcmode="lin" valueType="num">
                                      <p:cBhvr additive="base">
                                        <p:cTn id="69" dur="1600"/>
                                        <p:tgtEl>
                                          <p:spTgt spid="63"/>
                                        </p:tgtEl>
                                        <p:attrNameLst>
                                          <p:attrName>ppt_x</p:attrName>
                                        </p:attrNameLst>
                                      </p:cBhvr>
                                      <p:tavLst>
                                        <p:tav tm="0">
                                          <p:val>
                                            <p:strVal val="ppt_x"/>
                                          </p:val>
                                        </p:tav>
                                        <p:tav tm="100000">
                                          <p:val>
                                            <p:strVal val="ppt_x"/>
                                          </p:val>
                                        </p:tav>
                                      </p:tavLst>
                                    </p:anim>
                                    <p:anim calcmode="lin" valueType="num">
                                      <p:cBhvr additive="base">
                                        <p:cTn id="70" dur="1600"/>
                                        <p:tgtEl>
                                          <p:spTgt spid="63"/>
                                        </p:tgtEl>
                                        <p:attrNameLst>
                                          <p:attrName>ppt_y</p:attrName>
                                        </p:attrNameLst>
                                      </p:cBhvr>
                                      <p:tavLst>
                                        <p:tav tm="0">
                                          <p:val>
                                            <p:strVal val="ppt_y"/>
                                          </p:val>
                                        </p:tav>
                                        <p:tav tm="100000">
                                          <p:val>
                                            <p:strVal val="1+ppt_h/2"/>
                                          </p:val>
                                        </p:tav>
                                      </p:tavLst>
                                    </p:anim>
                                    <p:set>
                                      <p:cBhvr>
                                        <p:cTn id="71" dur="1" fill="hold">
                                          <p:stCondLst>
                                            <p:cond delay="1599"/>
                                          </p:stCondLst>
                                        </p:cTn>
                                        <p:tgtEl>
                                          <p:spTgt spid="63"/>
                                        </p:tgtEl>
                                        <p:attrNameLst>
                                          <p:attrName>style.visibility</p:attrName>
                                        </p:attrNameLst>
                                      </p:cBhvr>
                                      <p:to>
                                        <p:strVal val="hidden"/>
                                      </p:to>
                                    </p:set>
                                  </p:childTnLst>
                                </p:cTn>
                              </p:par>
                              <p:par>
                                <p:cTn id="72" presetID="1" presetClass="entr" presetSubtype="0" fill="hold" grpId="0" nodeType="withEffect">
                                  <p:stCondLst>
                                    <p:cond delay="11900"/>
                                  </p:stCondLst>
                                  <p:childTnLst>
                                    <p:set>
                                      <p:cBhvr>
                                        <p:cTn id="73" dur="1" fill="hold">
                                          <p:stCondLst>
                                            <p:cond delay="0"/>
                                          </p:stCondLst>
                                        </p:cTn>
                                        <p:tgtEl>
                                          <p:spTgt spid="64"/>
                                        </p:tgtEl>
                                        <p:attrNameLst>
                                          <p:attrName>style.visibility</p:attrName>
                                        </p:attrNameLst>
                                      </p:cBhvr>
                                      <p:to>
                                        <p:strVal val="visible"/>
                                      </p:to>
                                    </p:set>
                                  </p:childTnLst>
                                </p:cTn>
                              </p:par>
                              <p:par>
                                <p:cTn id="74" presetID="2" presetClass="exit" presetSubtype="4" fill="hold" grpId="1" nodeType="withEffect">
                                  <p:stCondLst>
                                    <p:cond delay="11900"/>
                                  </p:stCondLst>
                                  <p:childTnLst>
                                    <p:anim calcmode="lin" valueType="num">
                                      <p:cBhvr additive="base">
                                        <p:cTn id="75" dur="1600"/>
                                        <p:tgtEl>
                                          <p:spTgt spid="64"/>
                                        </p:tgtEl>
                                        <p:attrNameLst>
                                          <p:attrName>ppt_x</p:attrName>
                                        </p:attrNameLst>
                                      </p:cBhvr>
                                      <p:tavLst>
                                        <p:tav tm="0">
                                          <p:val>
                                            <p:strVal val="ppt_x"/>
                                          </p:val>
                                        </p:tav>
                                        <p:tav tm="100000">
                                          <p:val>
                                            <p:strVal val="ppt_x"/>
                                          </p:val>
                                        </p:tav>
                                      </p:tavLst>
                                    </p:anim>
                                    <p:anim calcmode="lin" valueType="num">
                                      <p:cBhvr additive="base">
                                        <p:cTn id="76" dur="1600"/>
                                        <p:tgtEl>
                                          <p:spTgt spid="64"/>
                                        </p:tgtEl>
                                        <p:attrNameLst>
                                          <p:attrName>ppt_y</p:attrName>
                                        </p:attrNameLst>
                                      </p:cBhvr>
                                      <p:tavLst>
                                        <p:tav tm="0">
                                          <p:val>
                                            <p:strVal val="ppt_y"/>
                                          </p:val>
                                        </p:tav>
                                        <p:tav tm="100000">
                                          <p:val>
                                            <p:strVal val="1+ppt_h/2"/>
                                          </p:val>
                                        </p:tav>
                                      </p:tavLst>
                                    </p:anim>
                                    <p:set>
                                      <p:cBhvr>
                                        <p:cTn id="77" dur="1" fill="hold">
                                          <p:stCondLst>
                                            <p:cond delay="1599"/>
                                          </p:stCondLst>
                                        </p:cTn>
                                        <p:tgtEl>
                                          <p:spTgt spid="64"/>
                                        </p:tgtEl>
                                        <p:attrNameLst>
                                          <p:attrName>style.visibility</p:attrName>
                                        </p:attrNameLst>
                                      </p:cBhvr>
                                      <p:to>
                                        <p:strVal val="hidden"/>
                                      </p:to>
                                    </p:set>
                                  </p:childTnLst>
                                </p:cTn>
                              </p:par>
                              <p:par>
                                <p:cTn id="78" presetID="1" presetClass="entr" presetSubtype="0" fill="hold" grpId="0" nodeType="withEffect">
                                  <p:stCondLst>
                                    <p:cond delay="12500"/>
                                  </p:stCondLst>
                                  <p:childTnLst>
                                    <p:set>
                                      <p:cBhvr>
                                        <p:cTn id="79" dur="1" fill="hold">
                                          <p:stCondLst>
                                            <p:cond delay="0"/>
                                          </p:stCondLst>
                                        </p:cTn>
                                        <p:tgtEl>
                                          <p:spTgt spid="65"/>
                                        </p:tgtEl>
                                        <p:attrNameLst>
                                          <p:attrName>style.visibility</p:attrName>
                                        </p:attrNameLst>
                                      </p:cBhvr>
                                      <p:to>
                                        <p:strVal val="visible"/>
                                      </p:to>
                                    </p:set>
                                  </p:childTnLst>
                                </p:cTn>
                              </p:par>
                              <p:par>
                                <p:cTn id="80" presetID="2" presetClass="exit" presetSubtype="4" fill="hold" grpId="1" nodeType="withEffect">
                                  <p:stCondLst>
                                    <p:cond delay="12500"/>
                                  </p:stCondLst>
                                  <p:childTnLst>
                                    <p:anim calcmode="lin" valueType="num">
                                      <p:cBhvr additive="base">
                                        <p:cTn id="81" dur="1600"/>
                                        <p:tgtEl>
                                          <p:spTgt spid="65"/>
                                        </p:tgtEl>
                                        <p:attrNameLst>
                                          <p:attrName>ppt_x</p:attrName>
                                        </p:attrNameLst>
                                      </p:cBhvr>
                                      <p:tavLst>
                                        <p:tav tm="0">
                                          <p:val>
                                            <p:strVal val="ppt_x"/>
                                          </p:val>
                                        </p:tav>
                                        <p:tav tm="100000">
                                          <p:val>
                                            <p:strVal val="ppt_x"/>
                                          </p:val>
                                        </p:tav>
                                      </p:tavLst>
                                    </p:anim>
                                    <p:anim calcmode="lin" valueType="num">
                                      <p:cBhvr additive="base">
                                        <p:cTn id="82" dur="1600"/>
                                        <p:tgtEl>
                                          <p:spTgt spid="65"/>
                                        </p:tgtEl>
                                        <p:attrNameLst>
                                          <p:attrName>ppt_y</p:attrName>
                                        </p:attrNameLst>
                                      </p:cBhvr>
                                      <p:tavLst>
                                        <p:tav tm="0">
                                          <p:val>
                                            <p:strVal val="ppt_y"/>
                                          </p:val>
                                        </p:tav>
                                        <p:tav tm="100000">
                                          <p:val>
                                            <p:strVal val="1+ppt_h/2"/>
                                          </p:val>
                                        </p:tav>
                                      </p:tavLst>
                                    </p:anim>
                                    <p:set>
                                      <p:cBhvr>
                                        <p:cTn id="83" dur="1" fill="hold">
                                          <p:stCondLst>
                                            <p:cond delay="1599"/>
                                          </p:stCondLst>
                                        </p:cTn>
                                        <p:tgtEl>
                                          <p:spTgt spid="65"/>
                                        </p:tgtEl>
                                        <p:attrNameLst>
                                          <p:attrName>style.visibility</p:attrName>
                                        </p:attrNameLst>
                                      </p:cBhvr>
                                      <p:to>
                                        <p:strVal val="hidden"/>
                                      </p:to>
                                    </p:set>
                                  </p:childTnLst>
                                </p:cTn>
                              </p:par>
                              <p:par>
                                <p:cTn id="84" presetID="1" presetClass="entr" presetSubtype="0" fill="hold" grpId="0" nodeType="withEffect">
                                  <p:stCondLst>
                                    <p:cond delay="13100"/>
                                  </p:stCondLst>
                                  <p:childTnLst>
                                    <p:set>
                                      <p:cBhvr>
                                        <p:cTn id="85" dur="1" fill="hold">
                                          <p:stCondLst>
                                            <p:cond delay="0"/>
                                          </p:stCondLst>
                                        </p:cTn>
                                        <p:tgtEl>
                                          <p:spTgt spid="66"/>
                                        </p:tgtEl>
                                        <p:attrNameLst>
                                          <p:attrName>style.visibility</p:attrName>
                                        </p:attrNameLst>
                                      </p:cBhvr>
                                      <p:to>
                                        <p:strVal val="visible"/>
                                      </p:to>
                                    </p:set>
                                  </p:childTnLst>
                                </p:cTn>
                              </p:par>
                              <p:par>
                                <p:cTn id="86" presetID="2" presetClass="exit" presetSubtype="4" fill="hold" grpId="1" nodeType="withEffect">
                                  <p:stCondLst>
                                    <p:cond delay="13100"/>
                                  </p:stCondLst>
                                  <p:childTnLst>
                                    <p:anim calcmode="lin" valueType="num">
                                      <p:cBhvr additive="base">
                                        <p:cTn id="87" dur="1600"/>
                                        <p:tgtEl>
                                          <p:spTgt spid="66"/>
                                        </p:tgtEl>
                                        <p:attrNameLst>
                                          <p:attrName>ppt_x</p:attrName>
                                        </p:attrNameLst>
                                      </p:cBhvr>
                                      <p:tavLst>
                                        <p:tav tm="0">
                                          <p:val>
                                            <p:strVal val="ppt_x"/>
                                          </p:val>
                                        </p:tav>
                                        <p:tav tm="100000">
                                          <p:val>
                                            <p:strVal val="ppt_x"/>
                                          </p:val>
                                        </p:tav>
                                      </p:tavLst>
                                    </p:anim>
                                    <p:anim calcmode="lin" valueType="num">
                                      <p:cBhvr additive="base">
                                        <p:cTn id="88" dur="1600"/>
                                        <p:tgtEl>
                                          <p:spTgt spid="66"/>
                                        </p:tgtEl>
                                        <p:attrNameLst>
                                          <p:attrName>ppt_y</p:attrName>
                                        </p:attrNameLst>
                                      </p:cBhvr>
                                      <p:tavLst>
                                        <p:tav tm="0">
                                          <p:val>
                                            <p:strVal val="ppt_y"/>
                                          </p:val>
                                        </p:tav>
                                        <p:tav tm="100000">
                                          <p:val>
                                            <p:strVal val="1+ppt_h/2"/>
                                          </p:val>
                                        </p:tav>
                                      </p:tavLst>
                                    </p:anim>
                                    <p:set>
                                      <p:cBhvr>
                                        <p:cTn id="89" dur="1" fill="hold">
                                          <p:stCondLst>
                                            <p:cond delay="1599"/>
                                          </p:stCondLst>
                                        </p:cTn>
                                        <p:tgtEl>
                                          <p:spTgt spid="66"/>
                                        </p:tgtEl>
                                        <p:attrNameLst>
                                          <p:attrName>style.visibility</p:attrName>
                                        </p:attrNameLst>
                                      </p:cBhvr>
                                      <p:to>
                                        <p:strVal val="hidden"/>
                                      </p:to>
                                    </p:set>
                                  </p:childTnLst>
                                </p:cTn>
                              </p:par>
                              <p:par>
                                <p:cTn id="90" presetID="1" presetClass="entr" presetSubtype="0" fill="hold" grpId="0" nodeType="withEffect">
                                  <p:stCondLst>
                                    <p:cond delay="13800"/>
                                  </p:stCondLst>
                                  <p:childTnLst>
                                    <p:set>
                                      <p:cBhvr>
                                        <p:cTn id="91" dur="1" fill="hold">
                                          <p:stCondLst>
                                            <p:cond delay="0"/>
                                          </p:stCondLst>
                                        </p:cTn>
                                        <p:tgtEl>
                                          <p:spTgt spid="67"/>
                                        </p:tgtEl>
                                        <p:attrNameLst>
                                          <p:attrName>style.visibility</p:attrName>
                                        </p:attrNameLst>
                                      </p:cBhvr>
                                      <p:to>
                                        <p:strVal val="visible"/>
                                      </p:to>
                                    </p:set>
                                  </p:childTnLst>
                                </p:cTn>
                              </p:par>
                              <p:par>
                                <p:cTn id="92" presetID="2" presetClass="exit" presetSubtype="4" fill="hold" grpId="1" nodeType="withEffect">
                                  <p:stCondLst>
                                    <p:cond delay="13800"/>
                                  </p:stCondLst>
                                  <p:childTnLst>
                                    <p:anim calcmode="lin" valueType="num">
                                      <p:cBhvr additive="base">
                                        <p:cTn id="93" dur="1600"/>
                                        <p:tgtEl>
                                          <p:spTgt spid="67"/>
                                        </p:tgtEl>
                                        <p:attrNameLst>
                                          <p:attrName>ppt_x</p:attrName>
                                        </p:attrNameLst>
                                      </p:cBhvr>
                                      <p:tavLst>
                                        <p:tav tm="0">
                                          <p:val>
                                            <p:strVal val="ppt_x"/>
                                          </p:val>
                                        </p:tav>
                                        <p:tav tm="100000">
                                          <p:val>
                                            <p:strVal val="ppt_x"/>
                                          </p:val>
                                        </p:tav>
                                      </p:tavLst>
                                    </p:anim>
                                    <p:anim calcmode="lin" valueType="num">
                                      <p:cBhvr additive="base">
                                        <p:cTn id="94" dur="1600"/>
                                        <p:tgtEl>
                                          <p:spTgt spid="67"/>
                                        </p:tgtEl>
                                        <p:attrNameLst>
                                          <p:attrName>ppt_y</p:attrName>
                                        </p:attrNameLst>
                                      </p:cBhvr>
                                      <p:tavLst>
                                        <p:tav tm="0">
                                          <p:val>
                                            <p:strVal val="ppt_y"/>
                                          </p:val>
                                        </p:tav>
                                        <p:tav tm="100000">
                                          <p:val>
                                            <p:strVal val="1+ppt_h/2"/>
                                          </p:val>
                                        </p:tav>
                                      </p:tavLst>
                                    </p:anim>
                                    <p:set>
                                      <p:cBhvr>
                                        <p:cTn id="95" dur="1" fill="hold">
                                          <p:stCondLst>
                                            <p:cond delay="1599"/>
                                          </p:stCondLst>
                                        </p:cTn>
                                        <p:tgtEl>
                                          <p:spTgt spid="67"/>
                                        </p:tgtEl>
                                        <p:attrNameLst>
                                          <p:attrName>style.visibility</p:attrName>
                                        </p:attrNameLst>
                                      </p:cBhvr>
                                      <p:to>
                                        <p:strVal val="hidden"/>
                                      </p:to>
                                    </p:set>
                                  </p:childTnLst>
                                </p:cTn>
                              </p:par>
                              <p:par>
                                <p:cTn id="96" presetID="1" presetClass="entr" presetSubtype="0" fill="hold" grpId="0" nodeType="withEffect">
                                  <p:stCondLst>
                                    <p:cond delay="14400"/>
                                  </p:stCondLst>
                                  <p:childTnLst>
                                    <p:set>
                                      <p:cBhvr>
                                        <p:cTn id="97" dur="1" fill="hold">
                                          <p:stCondLst>
                                            <p:cond delay="0"/>
                                          </p:stCondLst>
                                        </p:cTn>
                                        <p:tgtEl>
                                          <p:spTgt spid="68"/>
                                        </p:tgtEl>
                                        <p:attrNameLst>
                                          <p:attrName>style.visibility</p:attrName>
                                        </p:attrNameLst>
                                      </p:cBhvr>
                                      <p:to>
                                        <p:strVal val="visible"/>
                                      </p:to>
                                    </p:set>
                                  </p:childTnLst>
                                </p:cTn>
                              </p:par>
                              <p:par>
                                <p:cTn id="98" presetID="2" presetClass="exit" presetSubtype="4" fill="hold" grpId="1" nodeType="withEffect">
                                  <p:stCondLst>
                                    <p:cond delay="14500"/>
                                  </p:stCondLst>
                                  <p:childTnLst>
                                    <p:anim calcmode="lin" valueType="num">
                                      <p:cBhvr additive="base">
                                        <p:cTn id="99" dur="1600"/>
                                        <p:tgtEl>
                                          <p:spTgt spid="68"/>
                                        </p:tgtEl>
                                        <p:attrNameLst>
                                          <p:attrName>ppt_x</p:attrName>
                                        </p:attrNameLst>
                                      </p:cBhvr>
                                      <p:tavLst>
                                        <p:tav tm="0">
                                          <p:val>
                                            <p:strVal val="ppt_x"/>
                                          </p:val>
                                        </p:tav>
                                        <p:tav tm="100000">
                                          <p:val>
                                            <p:strVal val="ppt_x"/>
                                          </p:val>
                                        </p:tav>
                                      </p:tavLst>
                                    </p:anim>
                                    <p:anim calcmode="lin" valueType="num">
                                      <p:cBhvr additive="base">
                                        <p:cTn id="100" dur="1600"/>
                                        <p:tgtEl>
                                          <p:spTgt spid="68"/>
                                        </p:tgtEl>
                                        <p:attrNameLst>
                                          <p:attrName>ppt_y</p:attrName>
                                        </p:attrNameLst>
                                      </p:cBhvr>
                                      <p:tavLst>
                                        <p:tav tm="0">
                                          <p:val>
                                            <p:strVal val="ppt_y"/>
                                          </p:val>
                                        </p:tav>
                                        <p:tav tm="100000">
                                          <p:val>
                                            <p:strVal val="1+ppt_h/2"/>
                                          </p:val>
                                        </p:tav>
                                      </p:tavLst>
                                    </p:anim>
                                    <p:set>
                                      <p:cBhvr>
                                        <p:cTn id="101" dur="1" fill="hold">
                                          <p:stCondLst>
                                            <p:cond delay="1599"/>
                                          </p:stCondLst>
                                        </p:cTn>
                                        <p:tgtEl>
                                          <p:spTgt spid="68"/>
                                        </p:tgtEl>
                                        <p:attrNameLst>
                                          <p:attrName>style.visibility</p:attrName>
                                        </p:attrNameLst>
                                      </p:cBhvr>
                                      <p:to>
                                        <p:strVal val="hidden"/>
                                      </p:to>
                                    </p:set>
                                  </p:childTnLst>
                                </p:cTn>
                              </p:par>
                              <p:par>
                                <p:cTn id="102" presetID="1" presetClass="entr" presetSubtype="0" fill="hold" grpId="0" nodeType="withEffect">
                                  <p:stCondLst>
                                    <p:cond delay="15200"/>
                                  </p:stCondLst>
                                  <p:childTnLst>
                                    <p:set>
                                      <p:cBhvr>
                                        <p:cTn id="103" dur="1" fill="hold">
                                          <p:stCondLst>
                                            <p:cond delay="0"/>
                                          </p:stCondLst>
                                        </p:cTn>
                                        <p:tgtEl>
                                          <p:spTgt spid="69"/>
                                        </p:tgtEl>
                                        <p:attrNameLst>
                                          <p:attrName>style.visibility</p:attrName>
                                        </p:attrNameLst>
                                      </p:cBhvr>
                                      <p:to>
                                        <p:strVal val="visible"/>
                                      </p:to>
                                    </p:set>
                                  </p:childTnLst>
                                </p:cTn>
                              </p:par>
                              <p:par>
                                <p:cTn id="104" presetID="2" presetClass="exit" presetSubtype="4" fill="hold" grpId="1" nodeType="withEffect">
                                  <p:stCondLst>
                                    <p:cond delay="15200"/>
                                  </p:stCondLst>
                                  <p:childTnLst>
                                    <p:anim calcmode="lin" valueType="num">
                                      <p:cBhvr additive="base">
                                        <p:cTn id="105" dur="1600"/>
                                        <p:tgtEl>
                                          <p:spTgt spid="69"/>
                                        </p:tgtEl>
                                        <p:attrNameLst>
                                          <p:attrName>ppt_x</p:attrName>
                                        </p:attrNameLst>
                                      </p:cBhvr>
                                      <p:tavLst>
                                        <p:tav tm="0">
                                          <p:val>
                                            <p:strVal val="ppt_x"/>
                                          </p:val>
                                        </p:tav>
                                        <p:tav tm="100000">
                                          <p:val>
                                            <p:strVal val="ppt_x"/>
                                          </p:val>
                                        </p:tav>
                                      </p:tavLst>
                                    </p:anim>
                                    <p:anim calcmode="lin" valueType="num">
                                      <p:cBhvr additive="base">
                                        <p:cTn id="106" dur="1600"/>
                                        <p:tgtEl>
                                          <p:spTgt spid="69"/>
                                        </p:tgtEl>
                                        <p:attrNameLst>
                                          <p:attrName>ppt_y</p:attrName>
                                        </p:attrNameLst>
                                      </p:cBhvr>
                                      <p:tavLst>
                                        <p:tav tm="0">
                                          <p:val>
                                            <p:strVal val="ppt_y"/>
                                          </p:val>
                                        </p:tav>
                                        <p:tav tm="100000">
                                          <p:val>
                                            <p:strVal val="1+ppt_h/2"/>
                                          </p:val>
                                        </p:tav>
                                      </p:tavLst>
                                    </p:anim>
                                    <p:set>
                                      <p:cBhvr>
                                        <p:cTn id="107" dur="1" fill="hold">
                                          <p:stCondLst>
                                            <p:cond delay="1599"/>
                                          </p:stCondLst>
                                        </p:cTn>
                                        <p:tgtEl>
                                          <p:spTgt spid="69"/>
                                        </p:tgtEl>
                                        <p:attrNameLst>
                                          <p:attrName>style.visibility</p:attrName>
                                        </p:attrNameLst>
                                      </p:cBhvr>
                                      <p:to>
                                        <p:strVal val="hidden"/>
                                      </p:to>
                                    </p:set>
                                  </p:childTnLst>
                                </p:cTn>
                              </p:par>
                              <p:par>
                                <p:cTn id="108" presetID="1" presetClass="entr" presetSubtype="0" fill="hold" grpId="0" nodeType="withEffect">
                                  <p:stCondLst>
                                    <p:cond delay="15900"/>
                                  </p:stCondLst>
                                  <p:childTnLst>
                                    <p:set>
                                      <p:cBhvr>
                                        <p:cTn id="109" dur="1" fill="hold">
                                          <p:stCondLst>
                                            <p:cond delay="0"/>
                                          </p:stCondLst>
                                        </p:cTn>
                                        <p:tgtEl>
                                          <p:spTgt spid="70"/>
                                        </p:tgtEl>
                                        <p:attrNameLst>
                                          <p:attrName>style.visibility</p:attrName>
                                        </p:attrNameLst>
                                      </p:cBhvr>
                                      <p:to>
                                        <p:strVal val="visible"/>
                                      </p:to>
                                    </p:set>
                                  </p:childTnLst>
                                </p:cTn>
                              </p:par>
                              <p:par>
                                <p:cTn id="110" presetID="2" presetClass="exit" presetSubtype="4" fill="hold" grpId="1" nodeType="withEffect">
                                  <p:stCondLst>
                                    <p:cond delay="15900"/>
                                  </p:stCondLst>
                                  <p:childTnLst>
                                    <p:anim calcmode="lin" valueType="num">
                                      <p:cBhvr additive="base">
                                        <p:cTn id="111" dur="1600"/>
                                        <p:tgtEl>
                                          <p:spTgt spid="70"/>
                                        </p:tgtEl>
                                        <p:attrNameLst>
                                          <p:attrName>ppt_x</p:attrName>
                                        </p:attrNameLst>
                                      </p:cBhvr>
                                      <p:tavLst>
                                        <p:tav tm="0">
                                          <p:val>
                                            <p:strVal val="ppt_x"/>
                                          </p:val>
                                        </p:tav>
                                        <p:tav tm="100000">
                                          <p:val>
                                            <p:strVal val="ppt_x"/>
                                          </p:val>
                                        </p:tav>
                                      </p:tavLst>
                                    </p:anim>
                                    <p:anim calcmode="lin" valueType="num">
                                      <p:cBhvr additive="base">
                                        <p:cTn id="112" dur="1600"/>
                                        <p:tgtEl>
                                          <p:spTgt spid="70"/>
                                        </p:tgtEl>
                                        <p:attrNameLst>
                                          <p:attrName>ppt_y</p:attrName>
                                        </p:attrNameLst>
                                      </p:cBhvr>
                                      <p:tavLst>
                                        <p:tav tm="0">
                                          <p:val>
                                            <p:strVal val="ppt_y"/>
                                          </p:val>
                                        </p:tav>
                                        <p:tav tm="100000">
                                          <p:val>
                                            <p:strVal val="1+ppt_h/2"/>
                                          </p:val>
                                        </p:tav>
                                      </p:tavLst>
                                    </p:anim>
                                    <p:set>
                                      <p:cBhvr>
                                        <p:cTn id="113" dur="1" fill="hold">
                                          <p:stCondLst>
                                            <p:cond delay="1599"/>
                                          </p:stCondLst>
                                        </p:cTn>
                                        <p:tgtEl>
                                          <p:spTgt spid="70"/>
                                        </p:tgtEl>
                                        <p:attrNameLst>
                                          <p:attrName>style.visibility</p:attrName>
                                        </p:attrNameLst>
                                      </p:cBhvr>
                                      <p:to>
                                        <p:strVal val="hidden"/>
                                      </p:to>
                                    </p:set>
                                  </p:childTnLst>
                                </p:cTn>
                              </p:par>
                              <p:par>
                                <p:cTn id="114" presetID="1" presetClass="entr" presetSubtype="0" fill="hold" grpId="0" nodeType="withEffect">
                                  <p:stCondLst>
                                    <p:cond delay="16500"/>
                                  </p:stCondLst>
                                  <p:childTnLst>
                                    <p:set>
                                      <p:cBhvr>
                                        <p:cTn id="115" dur="1" fill="hold">
                                          <p:stCondLst>
                                            <p:cond delay="0"/>
                                          </p:stCondLst>
                                        </p:cTn>
                                        <p:tgtEl>
                                          <p:spTgt spid="71"/>
                                        </p:tgtEl>
                                        <p:attrNameLst>
                                          <p:attrName>style.visibility</p:attrName>
                                        </p:attrNameLst>
                                      </p:cBhvr>
                                      <p:to>
                                        <p:strVal val="visible"/>
                                      </p:to>
                                    </p:set>
                                  </p:childTnLst>
                                </p:cTn>
                              </p:par>
                              <p:par>
                                <p:cTn id="116" presetID="2" presetClass="exit" presetSubtype="4" fill="hold" grpId="1" nodeType="withEffect">
                                  <p:stCondLst>
                                    <p:cond delay="16500"/>
                                  </p:stCondLst>
                                  <p:childTnLst>
                                    <p:anim calcmode="lin" valueType="num">
                                      <p:cBhvr additive="base">
                                        <p:cTn id="117" dur="1600"/>
                                        <p:tgtEl>
                                          <p:spTgt spid="71"/>
                                        </p:tgtEl>
                                        <p:attrNameLst>
                                          <p:attrName>ppt_x</p:attrName>
                                        </p:attrNameLst>
                                      </p:cBhvr>
                                      <p:tavLst>
                                        <p:tav tm="0">
                                          <p:val>
                                            <p:strVal val="ppt_x"/>
                                          </p:val>
                                        </p:tav>
                                        <p:tav tm="100000">
                                          <p:val>
                                            <p:strVal val="ppt_x"/>
                                          </p:val>
                                        </p:tav>
                                      </p:tavLst>
                                    </p:anim>
                                    <p:anim calcmode="lin" valueType="num">
                                      <p:cBhvr additive="base">
                                        <p:cTn id="118" dur="1600"/>
                                        <p:tgtEl>
                                          <p:spTgt spid="71"/>
                                        </p:tgtEl>
                                        <p:attrNameLst>
                                          <p:attrName>ppt_y</p:attrName>
                                        </p:attrNameLst>
                                      </p:cBhvr>
                                      <p:tavLst>
                                        <p:tav tm="0">
                                          <p:val>
                                            <p:strVal val="ppt_y"/>
                                          </p:val>
                                        </p:tav>
                                        <p:tav tm="100000">
                                          <p:val>
                                            <p:strVal val="1+ppt_h/2"/>
                                          </p:val>
                                        </p:tav>
                                      </p:tavLst>
                                    </p:anim>
                                    <p:set>
                                      <p:cBhvr>
                                        <p:cTn id="119" dur="1" fill="hold">
                                          <p:stCondLst>
                                            <p:cond delay="1599"/>
                                          </p:stCondLst>
                                        </p:cTn>
                                        <p:tgtEl>
                                          <p:spTgt spid="71"/>
                                        </p:tgtEl>
                                        <p:attrNameLst>
                                          <p:attrName>style.visibility</p:attrName>
                                        </p:attrNameLst>
                                      </p:cBhvr>
                                      <p:to>
                                        <p:strVal val="hidden"/>
                                      </p:to>
                                    </p:set>
                                  </p:childTnLst>
                                </p:cTn>
                              </p:par>
                              <p:par>
                                <p:cTn id="120" presetID="1" presetClass="entr" presetSubtype="0" fill="hold" grpId="0" nodeType="withEffect">
                                  <p:stCondLst>
                                    <p:cond delay="17100"/>
                                  </p:stCondLst>
                                  <p:childTnLst>
                                    <p:set>
                                      <p:cBhvr>
                                        <p:cTn id="121" dur="1" fill="hold">
                                          <p:stCondLst>
                                            <p:cond delay="0"/>
                                          </p:stCondLst>
                                        </p:cTn>
                                        <p:tgtEl>
                                          <p:spTgt spid="72"/>
                                        </p:tgtEl>
                                        <p:attrNameLst>
                                          <p:attrName>style.visibility</p:attrName>
                                        </p:attrNameLst>
                                      </p:cBhvr>
                                      <p:to>
                                        <p:strVal val="visible"/>
                                      </p:to>
                                    </p:set>
                                  </p:childTnLst>
                                </p:cTn>
                              </p:par>
                              <p:par>
                                <p:cTn id="122" presetID="2" presetClass="exit" presetSubtype="4" fill="hold" grpId="1" nodeType="withEffect">
                                  <p:stCondLst>
                                    <p:cond delay="17100"/>
                                  </p:stCondLst>
                                  <p:childTnLst>
                                    <p:anim calcmode="lin" valueType="num">
                                      <p:cBhvr additive="base">
                                        <p:cTn id="123" dur="1600"/>
                                        <p:tgtEl>
                                          <p:spTgt spid="72"/>
                                        </p:tgtEl>
                                        <p:attrNameLst>
                                          <p:attrName>ppt_x</p:attrName>
                                        </p:attrNameLst>
                                      </p:cBhvr>
                                      <p:tavLst>
                                        <p:tav tm="0">
                                          <p:val>
                                            <p:strVal val="ppt_x"/>
                                          </p:val>
                                        </p:tav>
                                        <p:tav tm="100000">
                                          <p:val>
                                            <p:strVal val="ppt_x"/>
                                          </p:val>
                                        </p:tav>
                                      </p:tavLst>
                                    </p:anim>
                                    <p:anim calcmode="lin" valueType="num">
                                      <p:cBhvr additive="base">
                                        <p:cTn id="124" dur="1600"/>
                                        <p:tgtEl>
                                          <p:spTgt spid="72"/>
                                        </p:tgtEl>
                                        <p:attrNameLst>
                                          <p:attrName>ppt_y</p:attrName>
                                        </p:attrNameLst>
                                      </p:cBhvr>
                                      <p:tavLst>
                                        <p:tav tm="0">
                                          <p:val>
                                            <p:strVal val="ppt_y"/>
                                          </p:val>
                                        </p:tav>
                                        <p:tav tm="100000">
                                          <p:val>
                                            <p:strVal val="1+ppt_h/2"/>
                                          </p:val>
                                        </p:tav>
                                      </p:tavLst>
                                    </p:anim>
                                    <p:set>
                                      <p:cBhvr>
                                        <p:cTn id="125" dur="1" fill="hold">
                                          <p:stCondLst>
                                            <p:cond delay="1599"/>
                                          </p:stCondLst>
                                        </p:cTn>
                                        <p:tgtEl>
                                          <p:spTgt spid="72"/>
                                        </p:tgtEl>
                                        <p:attrNameLst>
                                          <p:attrName>style.visibility</p:attrName>
                                        </p:attrNameLst>
                                      </p:cBhvr>
                                      <p:to>
                                        <p:strVal val="hidden"/>
                                      </p:to>
                                    </p:set>
                                  </p:childTnLst>
                                </p:cTn>
                              </p:par>
                              <p:par>
                                <p:cTn id="126" presetID="1" presetClass="entr" presetSubtype="0" fill="hold" grpId="0" nodeType="withEffect">
                                  <p:stCondLst>
                                    <p:cond delay="17800"/>
                                  </p:stCondLst>
                                  <p:childTnLst>
                                    <p:set>
                                      <p:cBhvr>
                                        <p:cTn id="127" dur="1" fill="hold">
                                          <p:stCondLst>
                                            <p:cond delay="0"/>
                                          </p:stCondLst>
                                        </p:cTn>
                                        <p:tgtEl>
                                          <p:spTgt spid="73"/>
                                        </p:tgtEl>
                                        <p:attrNameLst>
                                          <p:attrName>style.visibility</p:attrName>
                                        </p:attrNameLst>
                                      </p:cBhvr>
                                      <p:to>
                                        <p:strVal val="visible"/>
                                      </p:to>
                                    </p:set>
                                  </p:childTnLst>
                                </p:cTn>
                              </p:par>
                              <p:par>
                                <p:cTn id="128" presetID="2" presetClass="exit" presetSubtype="4" fill="hold" grpId="1" nodeType="withEffect">
                                  <p:stCondLst>
                                    <p:cond delay="17800"/>
                                  </p:stCondLst>
                                  <p:childTnLst>
                                    <p:anim calcmode="lin" valueType="num">
                                      <p:cBhvr additive="base">
                                        <p:cTn id="129" dur="1600"/>
                                        <p:tgtEl>
                                          <p:spTgt spid="73"/>
                                        </p:tgtEl>
                                        <p:attrNameLst>
                                          <p:attrName>ppt_x</p:attrName>
                                        </p:attrNameLst>
                                      </p:cBhvr>
                                      <p:tavLst>
                                        <p:tav tm="0">
                                          <p:val>
                                            <p:strVal val="ppt_x"/>
                                          </p:val>
                                        </p:tav>
                                        <p:tav tm="100000">
                                          <p:val>
                                            <p:strVal val="ppt_x"/>
                                          </p:val>
                                        </p:tav>
                                      </p:tavLst>
                                    </p:anim>
                                    <p:anim calcmode="lin" valueType="num">
                                      <p:cBhvr additive="base">
                                        <p:cTn id="130" dur="1600"/>
                                        <p:tgtEl>
                                          <p:spTgt spid="73"/>
                                        </p:tgtEl>
                                        <p:attrNameLst>
                                          <p:attrName>ppt_y</p:attrName>
                                        </p:attrNameLst>
                                      </p:cBhvr>
                                      <p:tavLst>
                                        <p:tav tm="0">
                                          <p:val>
                                            <p:strVal val="ppt_y"/>
                                          </p:val>
                                        </p:tav>
                                        <p:tav tm="100000">
                                          <p:val>
                                            <p:strVal val="1+ppt_h/2"/>
                                          </p:val>
                                        </p:tav>
                                      </p:tavLst>
                                    </p:anim>
                                    <p:set>
                                      <p:cBhvr>
                                        <p:cTn id="131" dur="1" fill="hold">
                                          <p:stCondLst>
                                            <p:cond delay="1599"/>
                                          </p:stCondLst>
                                        </p:cTn>
                                        <p:tgtEl>
                                          <p:spTgt spid="73"/>
                                        </p:tgtEl>
                                        <p:attrNameLst>
                                          <p:attrName>style.visibility</p:attrName>
                                        </p:attrNameLst>
                                      </p:cBhvr>
                                      <p:to>
                                        <p:strVal val="hidden"/>
                                      </p:to>
                                    </p:set>
                                  </p:childTnLst>
                                </p:cTn>
                              </p:par>
                              <p:par>
                                <p:cTn id="132" presetID="1" presetClass="entr" presetSubtype="0" fill="hold" grpId="0" nodeType="withEffect">
                                  <p:stCondLst>
                                    <p:cond delay="18400"/>
                                  </p:stCondLst>
                                  <p:childTnLst>
                                    <p:set>
                                      <p:cBhvr>
                                        <p:cTn id="133" dur="1" fill="hold">
                                          <p:stCondLst>
                                            <p:cond delay="0"/>
                                          </p:stCondLst>
                                        </p:cTn>
                                        <p:tgtEl>
                                          <p:spTgt spid="74"/>
                                        </p:tgtEl>
                                        <p:attrNameLst>
                                          <p:attrName>style.visibility</p:attrName>
                                        </p:attrNameLst>
                                      </p:cBhvr>
                                      <p:to>
                                        <p:strVal val="visible"/>
                                      </p:to>
                                    </p:set>
                                  </p:childTnLst>
                                </p:cTn>
                              </p:par>
                              <p:par>
                                <p:cTn id="134" presetID="2" presetClass="exit" presetSubtype="4" fill="hold" grpId="1" nodeType="withEffect">
                                  <p:stCondLst>
                                    <p:cond delay="18400"/>
                                  </p:stCondLst>
                                  <p:childTnLst>
                                    <p:anim calcmode="lin" valueType="num">
                                      <p:cBhvr additive="base">
                                        <p:cTn id="135" dur="1600"/>
                                        <p:tgtEl>
                                          <p:spTgt spid="74"/>
                                        </p:tgtEl>
                                        <p:attrNameLst>
                                          <p:attrName>ppt_x</p:attrName>
                                        </p:attrNameLst>
                                      </p:cBhvr>
                                      <p:tavLst>
                                        <p:tav tm="0">
                                          <p:val>
                                            <p:strVal val="ppt_x"/>
                                          </p:val>
                                        </p:tav>
                                        <p:tav tm="100000">
                                          <p:val>
                                            <p:strVal val="ppt_x"/>
                                          </p:val>
                                        </p:tav>
                                      </p:tavLst>
                                    </p:anim>
                                    <p:anim calcmode="lin" valueType="num">
                                      <p:cBhvr additive="base">
                                        <p:cTn id="136" dur="1600"/>
                                        <p:tgtEl>
                                          <p:spTgt spid="74"/>
                                        </p:tgtEl>
                                        <p:attrNameLst>
                                          <p:attrName>ppt_y</p:attrName>
                                        </p:attrNameLst>
                                      </p:cBhvr>
                                      <p:tavLst>
                                        <p:tav tm="0">
                                          <p:val>
                                            <p:strVal val="ppt_y"/>
                                          </p:val>
                                        </p:tav>
                                        <p:tav tm="100000">
                                          <p:val>
                                            <p:strVal val="1+ppt_h/2"/>
                                          </p:val>
                                        </p:tav>
                                      </p:tavLst>
                                    </p:anim>
                                    <p:set>
                                      <p:cBhvr>
                                        <p:cTn id="137" dur="1" fill="hold">
                                          <p:stCondLst>
                                            <p:cond delay="1599"/>
                                          </p:stCondLst>
                                        </p:cTn>
                                        <p:tgtEl>
                                          <p:spTgt spid="74"/>
                                        </p:tgtEl>
                                        <p:attrNameLst>
                                          <p:attrName>style.visibility</p:attrName>
                                        </p:attrNameLst>
                                      </p:cBhvr>
                                      <p:to>
                                        <p:strVal val="hidden"/>
                                      </p:to>
                                    </p:set>
                                  </p:childTnLst>
                                </p:cTn>
                              </p:par>
                              <p:par>
                                <p:cTn id="138" presetID="1" presetClass="entr" presetSubtype="0" fill="hold" grpId="0" nodeType="withEffect">
                                  <p:stCondLst>
                                    <p:cond delay="19000"/>
                                  </p:stCondLst>
                                  <p:childTnLst>
                                    <p:set>
                                      <p:cBhvr>
                                        <p:cTn id="139" dur="1" fill="hold">
                                          <p:stCondLst>
                                            <p:cond delay="0"/>
                                          </p:stCondLst>
                                        </p:cTn>
                                        <p:tgtEl>
                                          <p:spTgt spid="75"/>
                                        </p:tgtEl>
                                        <p:attrNameLst>
                                          <p:attrName>style.visibility</p:attrName>
                                        </p:attrNameLst>
                                      </p:cBhvr>
                                      <p:to>
                                        <p:strVal val="visible"/>
                                      </p:to>
                                    </p:set>
                                  </p:childTnLst>
                                </p:cTn>
                              </p:par>
                              <p:par>
                                <p:cTn id="140" presetID="2" presetClass="exit" presetSubtype="4" fill="hold" grpId="1" nodeType="withEffect">
                                  <p:stCondLst>
                                    <p:cond delay="18900"/>
                                  </p:stCondLst>
                                  <p:childTnLst>
                                    <p:anim calcmode="lin" valueType="num">
                                      <p:cBhvr additive="base">
                                        <p:cTn id="141" dur="1600"/>
                                        <p:tgtEl>
                                          <p:spTgt spid="75"/>
                                        </p:tgtEl>
                                        <p:attrNameLst>
                                          <p:attrName>ppt_x</p:attrName>
                                        </p:attrNameLst>
                                      </p:cBhvr>
                                      <p:tavLst>
                                        <p:tav tm="0">
                                          <p:val>
                                            <p:strVal val="ppt_x"/>
                                          </p:val>
                                        </p:tav>
                                        <p:tav tm="100000">
                                          <p:val>
                                            <p:strVal val="ppt_x"/>
                                          </p:val>
                                        </p:tav>
                                      </p:tavLst>
                                    </p:anim>
                                    <p:anim calcmode="lin" valueType="num">
                                      <p:cBhvr additive="base">
                                        <p:cTn id="142" dur="1600"/>
                                        <p:tgtEl>
                                          <p:spTgt spid="75"/>
                                        </p:tgtEl>
                                        <p:attrNameLst>
                                          <p:attrName>ppt_y</p:attrName>
                                        </p:attrNameLst>
                                      </p:cBhvr>
                                      <p:tavLst>
                                        <p:tav tm="0">
                                          <p:val>
                                            <p:strVal val="ppt_y"/>
                                          </p:val>
                                        </p:tav>
                                        <p:tav tm="100000">
                                          <p:val>
                                            <p:strVal val="1+ppt_h/2"/>
                                          </p:val>
                                        </p:tav>
                                      </p:tavLst>
                                    </p:anim>
                                    <p:set>
                                      <p:cBhvr>
                                        <p:cTn id="143" dur="1" fill="hold">
                                          <p:stCondLst>
                                            <p:cond delay="1599"/>
                                          </p:stCondLst>
                                        </p:cTn>
                                        <p:tgtEl>
                                          <p:spTgt spid="75"/>
                                        </p:tgtEl>
                                        <p:attrNameLst>
                                          <p:attrName>style.visibility</p:attrName>
                                        </p:attrNameLst>
                                      </p:cBhvr>
                                      <p:to>
                                        <p:strVal val="hidden"/>
                                      </p:to>
                                    </p:set>
                                  </p:childTnLst>
                                </p:cTn>
                              </p:par>
                              <p:par>
                                <p:cTn id="144" presetID="1" presetClass="entr" presetSubtype="0" fill="hold" grpId="0" nodeType="withEffect">
                                  <p:stCondLst>
                                    <p:cond delay="19400"/>
                                  </p:stCondLst>
                                  <p:childTnLst>
                                    <p:set>
                                      <p:cBhvr>
                                        <p:cTn id="145" dur="1" fill="hold">
                                          <p:stCondLst>
                                            <p:cond delay="0"/>
                                          </p:stCondLst>
                                        </p:cTn>
                                        <p:tgtEl>
                                          <p:spTgt spid="76"/>
                                        </p:tgtEl>
                                        <p:attrNameLst>
                                          <p:attrName>style.visibility</p:attrName>
                                        </p:attrNameLst>
                                      </p:cBhvr>
                                      <p:to>
                                        <p:strVal val="visible"/>
                                      </p:to>
                                    </p:set>
                                  </p:childTnLst>
                                </p:cTn>
                              </p:par>
                              <p:par>
                                <p:cTn id="146" presetID="2" presetClass="exit" presetSubtype="4" fill="hold" grpId="1" nodeType="withEffect">
                                  <p:stCondLst>
                                    <p:cond delay="19400"/>
                                  </p:stCondLst>
                                  <p:childTnLst>
                                    <p:anim calcmode="lin" valueType="num">
                                      <p:cBhvr additive="base">
                                        <p:cTn id="147" dur="1600"/>
                                        <p:tgtEl>
                                          <p:spTgt spid="76"/>
                                        </p:tgtEl>
                                        <p:attrNameLst>
                                          <p:attrName>ppt_x</p:attrName>
                                        </p:attrNameLst>
                                      </p:cBhvr>
                                      <p:tavLst>
                                        <p:tav tm="0">
                                          <p:val>
                                            <p:strVal val="ppt_x"/>
                                          </p:val>
                                        </p:tav>
                                        <p:tav tm="100000">
                                          <p:val>
                                            <p:strVal val="ppt_x"/>
                                          </p:val>
                                        </p:tav>
                                      </p:tavLst>
                                    </p:anim>
                                    <p:anim calcmode="lin" valueType="num">
                                      <p:cBhvr additive="base">
                                        <p:cTn id="148" dur="1600"/>
                                        <p:tgtEl>
                                          <p:spTgt spid="76"/>
                                        </p:tgtEl>
                                        <p:attrNameLst>
                                          <p:attrName>ppt_y</p:attrName>
                                        </p:attrNameLst>
                                      </p:cBhvr>
                                      <p:tavLst>
                                        <p:tav tm="0">
                                          <p:val>
                                            <p:strVal val="ppt_y"/>
                                          </p:val>
                                        </p:tav>
                                        <p:tav tm="100000">
                                          <p:val>
                                            <p:strVal val="1+ppt_h/2"/>
                                          </p:val>
                                        </p:tav>
                                      </p:tavLst>
                                    </p:anim>
                                    <p:set>
                                      <p:cBhvr>
                                        <p:cTn id="149" dur="1" fill="hold">
                                          <p:stCondLst>
                                            <p:cond delay="1599"/>
                                          </p:stCondLst>
                                        </p:cTn>
                                        <p:tgtEl>
                                          <p:spTgt spid="76"/>
                                        </p:tgtEl>
                                        <p:attrNameLst>
                                          <p:attrName>style.visibility</p:attrName>
                                        </p:attrNameLst>
                                      </p:cBhvr>
                                      <p:to>
                                        <p:strVal val="hidden"/>
                                      </p:to>
                                    </p:set>
                                  </p:childTnLst>
                                </p:cTn>
                              </p:par>
                              <p:par>
                                <p:cTn id="150" presetID="1" presetClass="entr" presetSubtype="0" fill="hold" grpId="0" nodeType="withEffect">
                                  <p:stCondLst>
                                    <p:cond delay="20000"/>
                                  </p:stCondLst>
                                  <p:childTnLst>
                                    <p:set>
                                      <p:cBhvr>
                                        <p:cTn id="151" dur="1" fill="hold">
                                          <p:stCondLst>
                                            <p:cond delay="0"/>
                                          </p:stCondLst>
                                        </p:cTn>
                                        <p:tgtEl>
                                          <p:spTgt spid="77"/>
                                        </p:tgtEl>
                                        <p:attrNameLst>
                                          <p:attrName>style.visibility</p:attrName>
                                        </p:attrNameLst>
                                      </p:cBhvr>
                                      <p:to>
                                        <p:strVal val="visible"/>
                                      </p:to>
                                    </p:set>
                                  </p:childTnLst>
                                </p:cTn>
                              </p:par>
                              <p:par>
                                <p:cTn id="152" presetID="2" presetClass="exit" presetSubtype="4" fill="hold" grpId="1" nodeType="withEffect">
                                  <p:stCondLst>
                                    <p:cond delay="20000"/>
                                  </p:stCondLst>
                                  <p:childTnLst>
                                    <p:anim calcmode="lin" valueType="num">
                                      <p:cBhvr additive="base">
                                        <p:cTn id="153" dur="1600"/>
                                        <p:tgtEl>
                                          <p:spTgt spid="77"/>
                                        </p:tgtEl>
                                        <p:attrNameLst>
                                          <p:attrName>ppt_x</p:attrName>
                                        </p:attrNameLst>
                                      </p:cBhvr>
                                      <p:tavLst>
                                        <p:tav tm="0">
                                          <p:val>
                                            <p:strVal val="ppt_x"/>
                                          </p:val>
                                        </p:tav>
                                        <p:tav tm="100000">
                                          <p:val>
                                            <p:strVal val="ppt_x"/>
                                          </p:val>
                                        </p:tav>
                                      </p:tavLst>
                                    </p:anim>
                                    <p:anim calcmode="lin" valueType="num">
                                      <p:cBhvr additive="base">
                                        <p:cTn id="154" dur="1600"/>
                                        <p:tgtEl>
                                          <p:spTgt spid="77"/>
                                        </p:tgtEl>
                                        <p:attrNameLst>
                                          <p:attrName>ppt_y</p:attrName>
                                        </p:attrNameLst>
                                      </p:cBhvr>
                                      <p:tavLst>
                                        <p:tav tm="0">
                                          <p:val>
                                            <p:strVal val="ppt_y"/>
                                          </p:val>
                                        </p:tav>
                                        <p:tav tm="100000">
                                          <p:val>
                                            <p:strVal val="1+ppt_h/2"/>
                                          </p:val>
                                        </p:tav>
                                      </p:tavLst>
                                    </p:anim>
                                    <p:set>
                                      <p:cBhvr>
                                        <p:cTn id="155" dur="1" fill="hold">
                                          <p:stCondLst>
                                            <p:cond delay="1599"/>
                                          </p:stCondLst>
                                        </p:cTn>
                                        <p:tgtEl>
                                          <p:spTgt spid="77"/>
                                        </p:tgtEl>
                                        <p:attrNameLst>
                                          <p:attrName>style.visibility</p:attrName>
                                        </p:attrNameLst>
                                      </p:cBhvr>
                                      <p:to>
                                        <p:strVal val="hidden"/>
                                      </p:to>
                                    </p:set>
                                  </p:childTnLst>
                                </p:cTn>
                              </p:par>
                            </p:childTnLst>
                          </p:cTn>
                        </p:par>
                      </p:childTnLst>
                    </p:cTn>
                  </p:par>
                  <p:par>
                    <p:cTn id="156" fill="hold">
                      <p:stCondLst>
                        <p:cond delay="indefinite"/>
                      </p:stCondLst>
                      <p:childTnLst>
                        <p:par>
                          <p:cTn id="157" fill="hold">
                            <p:stCondLst>
                              <p:cond delay="0"/>
                            </p:stCondLst>
                            <p:childTnLst>
                              <p:par>
                                <p:cTn id="158" presetID="1" presetClass="entr" presetSubtype="0" fill="hold" grpId="0" nodeType="clickEffect">
                                  <p:stCondLst>
                                    <p:cond delay="0"/>
                                  </p:stCondLst>
                                  <p:childTnLst>
                                    <p:set>
                                      <p:cBhvr>
                                        <p:cTn id="159" dur="1" fill="hold">
                                          <p:stCondLst>
                                            <p:cond delay="0"/>
                                          </p:stCondLst>
                                        </p:cTn>
                                        <p:tgtEl>
                                          <p:spTgt spid="82"/>
                                        </p:tgtEl>
                                        <p:attrNameLst>
                                          <p:attrName>style.visibility</p:attrName>
                                        </p:attrNameLst>
                                      </p:cBhvr>
                                      <p:to>
                                        <p:strVal val="visible"/>
                                      </p:to>
                                    </p:set>
                                  </p:childTnLst>
                                </p:cTn>
                              </p:par>
                              <p:par>
                                <p:cTn id="160" presetID="1" presetClass="entr" presetSubtype="0" fill="hold" grpId="0" nodeType="withEffect">
                                  <p:stCondLst>
                                    <p:cond delay="0"/>
                                  </p:stCondLst>
                                  <p:childTnLst>
                                    <p:set>
                                      <p:cBhvr>
                                        <p:cTn id="161" dur="1" fill="hold">
                                          <p:stCondLst>
                                            <p:cond delay="0"/>
                                          </p:stCondLst>
                                        </p:cTn>
                                        <p:tgtEl>
                                          <p:spTgt spid="80"/>
                                        </p:tgtEl>
                                        <p:attrNameLst>
                                          <p:attrName>style.visibility</p:attrName>
                                        </p:attrNameLst>
                                      </p:cBhvr>
                                      <p:to>
                                        <p:strVal val="visible"/>
                                      </p:to>
                                    </p:set>
                                  </p:childTnLst>
                                </p:cTn>
                              </p:par>
                              <p:par>
                                <p:cTn id="162" presetID="1" presetClass="entr" presetSubtype="0" fill="hold" grpId="0" nodeType="withEffect">
                                  <p:stCondLst>
                                    <p:cond delay="0"/>
                                  </p:stCondLst>
                                  <p:childTnLst>
                                    <p:set>
                                      <p:cBhvr>
                                        <p:cTn id="163" dur="1" fill="hold">
                                          <p:stCondLst>
                                            <p:cond delay="0"/>
                                          </p:stCondLst>
                                        </p:cTn>
                                        <p:tgtEl>
                                          <p:spTgt spid="83"/>
                                        </p:tgtEl>
                                        <p:attrNameLst>
                                          <p:attrName>style.visibility</p:attrName>
                                        </p:attrNameLst>
                                      </p:cBhvr>
                                      <p:to>
                                        <p:strVal val="visible"/>
                                      </p:to>
                                    </p:set>
                                  </p:childTnLst>
                                </p:cTn>
                              </p:par>
                              <p:par>
                                <p:cTn id="164" presetID="1" presetClass="entr" presetSubtype="0" fill="hold" grpId="0" nodeType="withEffect">
                                  <p:stCondLst>
                                    <p:cond delay="0"/>
                                  </p:stCondLst>
                                  <p:childTnLst>
                                    <p:set>
                                      <p:cBhvr>
                                        <p:cTn id="165" dur="1" fill="hold">
                                          <p:stCondLst>
                                            <p:cond delay="0"/>
                                          </p:stCondLst>
                                        </p:cTn>
                                        <p:tgtEl>
                                          <p:spTgt spid="8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4" grpId="0" animBg="1"/>
      <p:bldP spid="5" grpId="0" animBg="1"/>
      <p:bldP spid="6" grpId="0" animBg="1"/>
      <p:bldP spid="7" grpId="0" animBg="1"/>
      <p:bldP spid="13" grpId="0" animBg="1"/>
      <p:bldP spid="60" grpId="0" animBg="1"/>
      <p:bldP spid="60" grpId="1" animBg="1"/>
      <p:bldP spid="61" grpId="0" animBg="1"/>
      <p:bldP spid="61" grpId="1" animBg="1"/>
      <p:bldP spid="62" grpId="0" animBg="1"/>
      <p:bldP spid="62" grpId="1" animBg="1"/>
      <p:bldP spid="63" grpId="0" animBg="1"/>
      <p:bldP spid="63" grpId="1" animBg="1"/>
      <p:bldP spid="64" grpId="0" animBg="1"/>
      <p:bldP spid="64" grpId="1" animBg="1"/>
      <p:bldP spid="65" grpId="0" animBg="1"/>
      <p:bldP spid="65" grpId="1" animBg="1"/>
      <p:bldP spid="66" grpId="0" animBg="1"/>
      <p:bldP spid="66" grpId="1" animBg="1"/>
      <p:bldP spid="67" grpId="0" animBg="1"/>
      <p:bldP spid="67" grpId="1" animBg="1"/>
      <p:bldP spid="68" grpId="0" animBg="1"/>
      <p:bldP spid="68" grpId="1" animBg="1"/>
      <p:bldP spid="69" grpId="0" animBg="1"/>
      <p:bldP spid="69" grpId="1" animBg="1"/>
      <p:bldP spid="70" grpId="0" animBg="1"/>
      <p:bldP spid="70" grpId="1" animBg="1"/>
      <p:bldP spid="71" grpId="0" animBg="1"/>
      <p:bldP spid="71" grpId="1" animBg="1"/>
      <p:bldP spid="72" grpId="0" animBg="1"/>
      <p:bldP spid="72" grpId="1" animBg="1"/>
      <p:bldP spid="73" grpId="0" animBg="1"/>
      <p:bldP spid="73" grpId="1" animBg="1"/>
      <p:bldP spid="74" grpId="0" animBg="1"/>
      <p:bldP spid="74" grpId="1" animBg="1"/>
      <p:bldP spid="75" grpId="0" animBg="1"/>
      <p:bldP spid="75" grpId="1" animBg="1"/>
      <p:bldP spid="76" grpId="0" animBg="1"/>
      <p:bldP spid="76" grpId="1" animBg="1"/>
      <p:bldP spid="77" grpId="0" animBg="1"/>
      <p:bldP spid="77" grpId="1" animBg="1"/>
      <p:bldP spid="80" grpId="0" animBg="1"/>
      <p:bldP spid="81" grpId="0" animBg="1"/>
      <p:bldP spid="82" grpId="0"/>
      <p:bldP spid="83"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8BE64C-18C2-259F-3C41-4776C44A16AF}"/>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C5CCB604-7524-D8E3-44BE-2216551FD54C}"/>
              </a:ext>
            </a:extLst>
          </p:cNvPr>
          <p:cNvSpPr>
            <a:spLocks noGrp="1"/>
          </p:cNvSpPr>
          <p:nvPr>
            <p:ph type="title"/>
          </p:nvPr>
        </p:nvSpPr>
        <p:spPr>
          <a:xfrm>
            <a:off x="800813" y="708819"/>
            <a:ext cx="8994941" cy="2720181"/>
          </a:xfrm>
        </p:spPr>
        <p:txBody>
          <a:bodyPr/>
          <a:lstStyle/>
          <a:p>
            <a:r>
              <a:rPr lang="en-US" dirty="0"/>
              <a:t>Data Equity – Can EHR Data Quality Identify those at Risk for Marginalization?</a:t>
            </a:r>
          </a:p>
        </p:txBody>
      </p:sp>
      <p:sp>
        <p:nvSpPr>
          <p:cNvPr id="7" name="TextBox 6">
            <a:extLst>
              <a:ext uri="{FF2B5EF4-FFF2-40B4-BE49-F238E27FC236}">
                <a16:creationId xmlns:a16="http://schemas.microsoft.com/office/drawing/2014/main" id="{16E38FDD-64A6-FAF5-A963-98EC632B87A7}"/>
              </a:ext>
            </a:extLst>
          </p:cNvPr>
          <p:cNvSpPr txBox="1"/>
          <p:nvPr/>
        </p:nvSpPr>
        <p:spPr>
          <a:xfrm>
            <a:off x="283129" y="3106229"/>
            <a:ext cx="38148936" cy="3250121"/>
          </a:xfrm>
          <a:prstGeom prst="rect">
            <a:avLst/>
          </a:prstGeom>
          <a:noFill/>
        </p:spPr>
        <p:txBody>
          <a:bodyPr wrap="square">
            <a:spAutoFit/>
          </a:bodyPr>
          <a:lstStyle/>
          <a:p>
            <a:pPr marL="457200" marR="0">
              <a:lnSpc>
                <a:spcPct val="107000"/>
              </a:lnSpc>
              <a:spcBef>
                <a:spcPts val="0"/>
              </a:spcBef>
              <a:spcAft>
                <a:spcPts val="800"/>
              </a:spcAft>
            </a:pPr>
            <a:r>
              <a:rPr lang="en-US" sz="1400" dirty="0">
                <a:solidFill>
                  <a:schemeClr val="tx2"/>
                </a:solidFill>
                <a:effectLst/>
                <a:latin typeface="+mj-lt"/>
                <a:ea typeface="Calibri" panose="020F0502020204030204" pitchFamily="34" charset="0"/>
                <a:cs typeface="Kanit Light" panose="00000400000000000000" pitchFamily="50" charset="-34"/>
              </a:rPr>
              <a:t>Paulo B. Pinho, MD, FAAP, FACP, Vice President and Medical Director*</a:t>
            </a:r>
          </a:p>
          <a:p>
            <a:pPr marL="457200" marR="0">
              <a:lnSpc>
                <a:spcPct val="107000"/>
              </a:lnSpc>
              <a:spcBef>
                <a:spcPts val="0"/>
              </a:spcBef>
              <a:spcAft>
                <a:spcPts val="800"/>
              </a:spcAft>
            </a:pPr>
            <a:r>
              <a:rPr lang="en-US" sz="1400" dirty="0">
                <a:solidFill>
                  <a:schemeClr val="tx2"/>
                </a:solidFill>
                <a:effectLst/>
                <a:latin typeface="+mj-lt"/>
                <a:ea typeface="Calibri" panose="020F0502020204030204" pitchFamily="34" charset="0"/>
                <a:cs typeface="Kanit Light" panose="00000400000000000000" pitchFamily="50" charset="-34"/>
              </a:rPr>
              <a:t>Don Burt*</a:t>
            </a:r>
          </a:p>
          <a:p>
            <a:pPr marL="457200" marR="0">
              <a:lnSpc>
                <a:spcPct val="107000"/>
              </a:lnSpc>
              <a:spcBef>
                <a:spcPts val="0"/>
              </a:spcBef>
              <a:spcAft>
                <a:spcPts val="800"/>
              </a:spcAft>
            </a:pPr>
            <a:r>
              <a:rPr lang="en-US" sz="1400" dirty="0">
                <a:solidFill>
                  <a:schemeClr val="tx2"/>
                </a:solidFill>
                <a:effectLst/>
                <a:latin typeface="+mj-lt"/>
                <a:ea typeface="Calibri" panose="020F0502020204030204" pitchFamily="34" charset="0"/>
                <a:cs typeface="Kanit Light" panose="00000400000000000000" pitchFamily="50" charset="-34"/>
              </a:rPr>
              <a:t>Sharon Pickett*</a:t>
            </a:r>
          </a:p>
          <a:p>
            <a:pPr marL="457200" marR="0">
              <a:lnSpc>
                <a:spcPct val="107000"/>
              </a:lnSpc>
              <a:spcBef>
                <a:spcPts val="0"/>
              </a:spcBef>
              <a:spcAft>
                <a:spcPts val="800"/>
              </a:spcAft>
            </a:pPr>
            <a:r>
              <a:rPr lang="en-US" sz="1400" dirty="0">
                <a:solidFill>
                  <a:schemeClr val="tx2"/>
                </a:solidFill>
                <a:effectLst/>
                <a:latin typeface="+mj-lt"/>
                <a:ea typeface="Calibri" panose="020F0502020204030204" pitchFamily="34" charset="0"/>
                <a:cs typeface="Kanit Light"/>
              </a:rPr>
              <a:t>Owais M</a:t>
            </a:r>
            <a:r>
              <a:rPr lang="en-US" sz="1400" dirty="0">
                <a:solidFill>
                  <a:schemeClr val="tx2"/>
                </a:solidFill>
                <a:latin typeface="+mj-lt"/>
                <a:ea typeface="Calibri" panose="020F0502020204030204" pitchFamily="34" charset="0"/>
                <a:cs typeface="Kanit Light"/>
              </a:rPr>
              <a:t>.</a:t>
            </a:r>
            <a:r>
              <a:rPr lang="en-US" sz="1400" dirty="0">
                <a:solidFill>
                  <a:schemeClr val="tx2"/>
                </a:solidFill>
                <a:effectLst/>
                <a:latin typeface="+mj-lt"/>
                <a:ea typeface="Calibri" panose="020F0502020204030204" pitchFamily="34" charset="0"/>
                <a:cs typeface="Kanit Light"/>
              </a:rPr>
              <a:t> Aftab, BS, 2</a:t>
            </a:r>
            <a:r>
              <a:rPr lang="en-US" sz="1400" baseline="30000" dirty="0">
                <a:solidFill>
                  <a:schemeClr val="tx2"/>
                </a:solidFill>
                <a:effectLst/>
                <a:latin typeface="+mj-lt"/>
                <a:ea typeface="Calibri" panose="020F0502020204030204" pitchFamily="34" charset="0"/>
                <a:cs typeface="Kanit Light"/>
              </a:rPr>
              <a:t>nd</a:t>
            </a:r>
            <a:r>
              <a:rPr lang="en-US" sz="1400" dirty="0">
                <a:solidFill>
                  <a:schemeClr val="tx2"/>
                </a:solidFill>
                <a:effectLst/>
                <a:latin typeface="+mj-lt"/>
                <a:ea typeface="Calibri" panose="020F0502020204030204" pitchFamily="34" charset="0"/>
                <a:cs typeface="Kanit Light"/>
              </a:rPr>
              <a:t> Year Medical Student ¥</a:t>
            </a:r>
          </a:p>
          <a:p>
            <a:pPr marL="457200" marR="0">
              <a:lnSpc>
                <a:spcPct val="107000"/>
              </a:lnSpc>
              <a:spcBef>
                <a:spcPts val="0"/>
              </a:spcBef>
              <a:spcAft>
                <a:spcPts val="800"/>
              </a:spcAft>
            </a:pPr>
            <a:r>
              <a:rPr lang="en-US" sz="1400" dirty="0">
                <a:solidFill>
                  <a:schemeClr val="tx2"/>
                </a:solidFill>
                <a:effectLst/>
                <a:latin typeface="+mj-lt"/>
                <a:ea typeface="Calibri" panose="020F0502020204030204" pitchFamily="34" charset="0"/>
                <a:cs typeface="Kanit Light" panose="00000400000000000000" pitchFamily="50" charset="-34"/>
              </a:rPr>
              <a:t>Jennifer C. Lee, BS, 2</a:t>
            </a:r>
            <a:r>
              <a:rPr lang="en-US" sz="1400" baseline="30000" dirty="0">
                <a:solidFill>
                  <a:schemeClr val="tx2"/>
                </a:solidFill>
                <a:effectLst/>
                <a:latin typeface="+mj-lt"/>
                <a:ea typeface="Calibri" panose="020F0502020204030204" pitchFamily="34" charset="0"/>
                <a:cs typeface="Kanit Light" panose="00000400000000000000" pitchFamily="50" charset="-34"/>
              </a:rPr>
              <a:t>nd</a:t>
            </a:r>
            <a:r>
              <a:rPr lang="en-US" sz="1400" dirty="0">
                <a:solidFill>
                  <a:schemeClr val="tx2"/>
                </a:solidFill>
                <a:effectLst/>
                <a:latin typeface="+mj-lt"/>
                <a:ea typeface="Calibri" panose="020F0502020204030204" pitchFamily="34" charset="0"/>
                <a:cs typeface="Kanit Light" panose="00000400000000000000" pitchFamily="50" charset="-34"/>
              </a:rPr>
              <a:t> Year Medical Student ¥</a:t>
            </a:r>
          </a:p>
          <a:p>
            <a:pPr marL="457200" marR="0">
              <a:lnSpc>
                <a:spcPct val="107000"/>
              </a:lnSpc>
              <a:spcBef>
                <a:spcPts val="0"/>
              </a:spcBef>
              <a:spcAft>
                <a:spcPts val="800"/>
              </a:spcAft>
            </a:pPr>
            <a:r>
              <a:rPr lang="en-US" sz="1400" dirty="0">
                <a:solidFill>
                  <a:schemeClr val="tx2"/>
                </a:solidFill>
                <a:effectLst/>
                <a:latin typeface="+mj-lt"/>
                <a:ea typeface="Calibri" panose="020F0502020204030204" pitchFamily="34" charset="0"/>
                <a:cs typeface="Kanit Light" panose="00000400000000000000" pitchFamily="50" charset="-34"/>
              </a:rPr>
              <a:t>Harrison L. Chiu, BA, 2</a:t>
            </a:r>
            <a:r>
              <a:rPr lang="en-US" sz="1400" baseline="30000" dirty="0">
                <a:solidFill>
                  <a:schemeClr val="tx2"/>
                </a:solidFill>
                <a:effectLst/>
                <a:latin typeface="+mj-lt"/>
                <a:ea typeface="Calibri" panose="020F0502020204030204" pitchFamily="34" charset="0"/>
                <a:cs typeface="Kanit Light" panose="00000400000000000000" pitchFamily="50" charset="-34"/>
              </a:rPr>
              <a:t>nd</a:t>
            </a:r>
            <a:r>
              <a:rPr lang="en-US" sz="1400" dirty="0">
                <a:solidFill>
                  <a:schemeClr val="tx2"/>
                </a:solidFill>
                <a:effectLst/>
                <a:latin typeface="+mj-lt"/>
                <a:ea typeface="Calibri" panose="020F0502020204030204" pitchFamily="34" charset="0"/>
                <a:cs typeface="Kanit Light" panose="00000400000000000000" pitchFamily="50" charset="-34"/>
              </a:rPr>
              <a:t> Year Medical Student ¥</a:t>
            </a:r>
          </a:p>
          <a:p>
            <a:pPr marL="457200" marR="0">
              <a:lnSpc>
                <a:spcPct val="107000"/>
              </a:lnSpc>
              <a:spcBef>
                <a:spcPts val="0"/>
              </a:spcBef>
              <a:spcAft>
                <a:spcPts val="800"/>
              </a:spcAft>
            </a:pPr>
            <a:r>
              <a:rPr lang="en-US" sz="1400" dirty="0">
                <a:solidFill>
                  <a:schemeClr val="tx2"/>
                </a:solidFill>
                <a:effectLst/>
                <a:latin typeface="+mj-lt"/>
                <a:ea typeface="Calibri" panose="020F0502020204030204" pitchFamily="34" charset="0"/>
                <a:cs typeface="Kanit Light" panose="00000400000000000000" pitchFamily="50" charset="-34"/>
              </a:rPr>
              <a:t>Kyle </a:t>
            </a:r>
            <a:r>
              <a:rPr lang="en-US" sz="1400" dirty="0" err="1">
                <a:solidFill>
                  <a:schemeClr val="tx2"/>
                </a:solidFill>
                <a:effectLst/>
                <a:latin typeface="+mj-lt"/>
                <a:ea typeface="Calibri" panose="020F0502020204030204" pitchFamily="34" charset="0"/>
                <a:cs typeface="Kanit Light" panose="00000400000000000000" pitchFamily="50" charset="-34"/>
              </a:rPr>
              <a:t>Meadors</a:t>
            </a:r>
            <a:r>
              <a:rPr lang="en-US" sz="1400" dirty="0">
                <a:solidFill>
                  <a:schemeClr val="tx2"/>
                </a:solidFill>
                <a:effectLst/>
                <a:latin typeface="+mj-lt"/>
                <a:ea typeface="Calibri" panose="020F0502020204030204" pitchFamily="34" charset="0"/>
                <a:cs typeface="Kanit Light" panose="00000400000000000000" pitchFamily="50" charset="-34"/>
              </a:rPr>
              <a:t>, President ǂ</a:t>
            </a:r>
          </a:p>
          <a:p>
            <a:pPr marL="628650" lvl="2" indent="0">
              <a:lnSpc>
                <a:spcPct val="115000"/>
              </a:lnSpc>
              <a:spcAft>
                <a:spcPts val="800"/>
              </a:spcAft>
              <a:buNone/>
            </a:pPr>
            <a:r>
              <a:rPr lang="en-US" sz="1100" dirty="0">
                <a:solidFill>
                  <a:schemeClr val="tx2"/>
                </a:solidFill>
                <a:effectLst/>
                <a:latin typeface="+mj-lt"/>
                <a:ea typeface="Calibri" panose="020F0502020204030204" pitchFamily="34" charset="0"/>
                <a:cs typeface="Kanit Light" panose="00000400000000000000" pitchFamily="50" charset="-34"/>
              </a:rPr>
              <a:t>* Diameter Health (Farmington, CT)</a:t>
            </a:r>
          </a:p>
          <a:p>
            <a:pPr marL="628650" lvl="2" indent="0">
              <a:lnSpc>
                <a:spcPct val="115000"/>
              </a:lnSpc>
              <a:spcAft>
                <a:spcPts val="800"/>
              </a:spcAft>
              <a:buNone/>
            </a:pPr>
            <a:r>
              <a:rPr lang="en-US" sz="1100" dirty="0">
                <a:solidFill>
                  <a:schemeClr val="tx2"/>
                </a:solidFill>
                <a:effectLst/>
                <a:latin typeface="+mj-lt"/>
                <a:ea typeface="Calibri" panose="020F0502020204030204" pitchFamily="34" charset="0"/>
                <a:cs typeface="Kanit Light" panose="00000400000000000000" pitchFamily="50" charset="-34"/>
              </a:rPr>
              <a:t>¥ Rutgers New Jersey Medical School (Newark, NJ)</a:t>
            </a:r>
          </a:p>
          <a:p>
            <a:pPr marL="628650" lvl="2" indent="0">
              <a:lnSpc>
                <a:spcPct val="115000"/>
              </a:lnSpc>
              <a:spcAft>
                <a:spcPts val="800"/>
              </a:spcAft>
              <a:buNone/>
            </a:pPr>
            <a:r>
              <a:rPr lang="en-US" sz="1100" dirty="0">
                <a:solidFill>
                  <a:schemeClr val="tx2"/>
                </a:solidFill>
                <a:effectLst/>
                <a:latin typeface="+mj-lt"/>
                <a:ea typeface="Calibri" panose="020F0502020204030204" pitchFamily="34" charset="0"/>
                <a:cs typeface="Kanit Light" panose="00000400000000000000" pitchFamily="50" charset="-34"/>
              </a:rPr>
              <a:t>ǂ Chart Lux Consulting (Nashville, TN)</a:t>
            </a:r>
          </a:p>
        </p:txBody>
      </p:sp>
    </p:spTree>
    <p:extLst>
      <p:ext uri="{BB962C8B-B14F-4D97-AF65-F5344CB8AC3E}">
        <p14:creationId xmlns:p14="http://schemas.microsoft.com/office/powerpoint/2010/main" val="1020545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8452301-E094-9A94-EF9D-65A8526F3CC2}"/>
              </a:ext>
            </a:extLst>
          </p:cNvPr>
          <p:cNvSpPr>
            <a:spLocks noGrp="1"/>
          </p:cNvSpPr>
          <p:nvPr>
            <p:ph type="title"/>
          </p:nvPr>
        </p:nvSpPr>
        <p:spPr>
          <a:xfrm>
            <a:off x="516367" y="235018"/>
            <a:ext cx="11441953" cy="615553"/>
          </a:xfrm>
        </p:spPr>
        <p:txBody>
          <a:bodyPr/>
          <a:lstStyle/>
          <a:p>
            <a:r>
              <a:rPr lang="en-US" sz="4000" dirty="0"/>
              <a:t>Healthcare Around the World – Haiti</a:t>
            </a:r>
          </a:p>
        </p:txBody>
      </p:sp>
      <p:grpSp>
        <p:nvGrpSpPr>
          <p:cNvPr id="6" name="Group 5">
            <a:extLst>
              <a:ext uri="{FF2B5EF4-FFF2-40B4-BE49-F238E27FC236}">
                <a16:creationId xmlns:a16="http://schemas.microsoft.com/office/drawing/2014/main" id="{37816550-F7BC-4B77-72F9-E2D06F853844}"/>
              </a:ext>
            </a:extLst>
          </p:cNvPr>
          <p:cNvGrpSpPr/>
          <p:nvPr/>
        </p:nvGrpSpPr>
        <p:grpSpPr>
          <a:xfrm>
            <a:off x="-1" y="3995929"/>
            <a:ext cx="12192001" cy="2060042"/>
            <a:chOff x="-1299409" y="1173063"/>
            <a:chExt cx="13273838" cy="2466637"/>
          </a:xfrm>
        </p:grpSpPr>
        <p:pic>
          <p:nvPicPr>
            <p:cNvPr id="7" name="Picture 2">
              <a:extLst>
                <a:ext uri="{FF2B5EF4-FFF2-40B4-BE49-F238E27FC236}">
                  <a16:creationId xmlns:a16="http://schemas.microsoft.com/office/drawing/2014/main" id="{C442DC20-D51D-FC9A-1315-CC0DFCC8D2C7}"/>
                </a:ext>
              </a:extLst>
            </p:cNvPr>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2038742" y="1173063"/>
              <a:ext cx="3275209" cy="24564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
              <a:extLst>
                <a:ext uri="{FF2B5EF4-FFF2-40B4-BE49-F238E27FC236}">
                  <a16:creationId xmlns:a16="http://schemas.microsoft.com/office/drawing/2014/main" id="{2235CC7E-1C8C-C44C-FF3D-D85E98E001D6}"/>
                </a:ext>
              </a:extLst>
            </p:cNvPr>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1299409" y="1183294"/>
              <a:ext cx="3275209" cy="24564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2">
              <a:extLst>
                <a:ext uri="{FF2B5EF4-FFF2-40B4-BE49-F238E27FC236}">
                  <a16:creationId xmlns:a16="http://schemas.microsoft.com/office/drawing/2014/main" id="{3F083259-9DAB-5418-99C2-4E7DCB96B15E}"/>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5381242" y="1183294"/>
              <a:ext cx="3247926" cy="24359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3">
              <a:extLst>
                <a:ext uri="{FF2B5EF4-FFF2-40B4-BE49-F238E27FC236}">
                  <a16:creationId xmlns:a16="http://schemas.microsoft.com/office/drawing/2014/main" id="{006B363E-4AF2-F298-3C88-8D95DAB38735}"/>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8706165" y="1173063"/>
              <a:ext cx="3268264" cy="24359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1" name="Picture 2">
            <a:extLst>
              <a:ext uri="{FF2B5EF4-FFF2-40B4-BE49-F238E27FC236}">
                <a16:creationId xmlns:a16="http://schemas.microsoft.com/office/drawing/2014/main" id="{3EF791D2-A297-00A3-3DF8-D54A5AD2E9C5}"/>
              </a:ext>
            </a:extLst>
          </p:cNvPr>
          <p:cNvPicPr>
            <a:picLocks noChangeAspect="1" noChangeArrowheads="1"/>
          </p:cNvPicPr>
          <p:nvPr/>
        </p:nvPicPr>
        <p:blipFill rotWithShape="1">
          <a:blip r:embed="rId6" cstate="print">
            <a:extLst>
              <a:ext uri="{28A0092B-C50C-407E-A947-70E740481C1C}">
                <a14:useLocalDpi xmlns:a14="http://schemas.microsoft.com/office/drawing/2010/main"/>
              </a:ext>
            </a:extLst>
          </a:blip>
          <a:srcRect/>
          <a:stretch/>
        </p:blipFill>
        <p:spPr bwMode="auto">
          <a:xfrm>
            <a:off x="-2" y="1404048"/>
            <a:ext cx="3368921" cy="2526807"/>
          </a:xfrm>
          <a:prstGeom prst="rect">
            <a:avLst/>
          </a:prstGeom>
          <a:ln w="28575">
            <a:noFill/>
          </a:ln>
          <a:effectLst/>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D0CEF506-878B-8D6E-51DC-1D9E09B14CCB}"/>
              </a:ext>
            </a:extLst>
          </p:cNvPr>
          <p:cNvSpPr txBox="1"/>
          <p:nvPr/>
        </p:nvSpPr>
        <p:spPr>
          <a:xfrm>
            <a:off x="121718" y="6129590"/>
            <a:ext cx="5492698" cy="230832"/>
          </a:xfrm>
          <a:prstGeom prst="rect">
            <a:avLst/>
          </a:prstGeom>
          <a:noFill/>
        </p:spPr>
        <p:txBody>
          <a:bodyPr wrap="square">
            <a:spAutoFit/>
          </a:bodyPr>
          <a:lstStyle/>
          <a:p>
            <a:r>
              <a:rPr lang="en-US" sz="900" dirty="0">
                <a:solidFill>
                  <a:schemeClr val="bg1">
                    <a:lumMod val="75000"/>
                  </a:schemeClr>
                </a:solidFill>
              </a:rPr>
              <a:t>https://vignette.wikia.nocookie.net/haiti/images/e/e2/Haiti_map.jpg/revision/latest?cb=20170928043819</a:t>
            </a:r>
          </a:p>
        </p:txBody>
      </p:sp>
      <p:pic>
        <p:nvPicPr>
          <p:cNvPr id="13" name="Picture 5">
            <a:extLst>
              <a:ext uri="{FF2B5EF4-FFF2-40B4-BE49-F238E27FC236}">
                <a16:creationId xmlns:a16="http://schemas.microsoft.com/office/drawing/2014/main" id="{C96D921B-4496-BF08-2A6A-E61EC1BAA7CB}"/>
              </a:ext>
            </a:extLst>
          </p:cNvPr>
          <p:cNvPicPr>
            <a:picLocks noChangeAspect="1" noChangeArrowheads="1"/>
          </p:cNvPicPr>
          <p:nvPr/>
        </p:nvPicPr>
        <p:blipFill rotWithShape="1">
          <a:blip r:embed="rId7" cstate="print">
            <a:extLst>
              <a:ext uri="{28A0092B-C50C-407E-A947-70E740481C1C}">
                <a14:useLocalDpi xmlns:a14="http://schemas.microsoft.com/office/drawing/2010/main"/>
              </a:ext>
            </a:extLst>
          </a:blip>
          <a:srcRect l="-287" r="-68"/>
          <a:stretch/>
        </p:blipFill>
        <p:spPr bwMode="auto">
          <a:xfrm>
            <a:off x="3414438" y="1405750"/>
            <a:ext cx="8786706" cy="252680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pic>
      <p:sp>
        <p:nvSpPr>
          <p:cNvPr id="14" name="5-Point Star 13">
            <a:extLst>
              <a:ext uri="{FF2B5EF4-FFF2-40B4-BE49-F238E27FC236}">
                <a16:creationId xmlns:a16="http://schemas.microsoft.com/office/drawing/2014/main" id="{A0ACE6CC-4709-C37D-9551-BD3EB19CCAD9}"/>
              </a:ext>
            </a:extLst>
          </p:cNvPr>
          <p:cNvSpPr/>
          <p:nvPr/>
        </p:nvSpPr>
        <p:spPr>
          <a:xfrm>
            <a:off x="2176272" y="3008376"/>
            <a:ext cx="347472" cy="320040"/>
          </a:xfrm>
          <a:prstGeom prst="star5">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9801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8452301-E094-9A94-EF9D-65A8526F3CC2}"/>
              </a:ext>
            </a:extLst>
          </p:cNvPr>
          <p:cNvSpPr>
            <a:spLocks noGrp="1"/>
          </p:cNvSpPr>
          <p:nvPr>
            <p:ph type="title"/>
          </p:nvPr>
        </p:nvSpPr>
        <p:spPr>
          <a:xfrm>
            <a:off x="516367" y="235018"/>
            <a:ext cx="11441953" cy="615553"/>
          </a:xfrm>
        </p:spPr>
        <p:txBody>
          <a:bodyPr/>
          <a:lstStyle/>
          <a:p>
            <a:r>
              <a:rPr lang="en-US" sz="4000" dirty="0"/>
              <a:t>LIFE Clinic – Village Level Care in Haiti</a:t>
            </a:r>
          </a:p>
        </p:txBody>
      </p:sp>
      <p:pic>
        <p:nvPicPr>
          <p:cNvPr id="5" name="Picture 2">
            <a:extLst>
              <a:ext uri="{FF2B5EF4-FFF2-40B4-BE49-F238E27FC236}">
                <a16:creationId xmlns:a16="http://schemas.microsoft.com/office/drawing/2014/main" id="{5BD65919-950B-D122-C96B-714A119F5B14}"/>
              </a:ext>
            </a:extLst>
          </p:cNvPr>
          <p:cNvPicPr>
            <a:picLocks noChangeAspect="1" noChangeArrowheads="1"/>
          </p:cNvPicPr>
          <p:nvPr/>
        </p:nvPicPr>
        <p:blipFill rotWithShape="1">
          <a:blip r:embed="rId2" cstate="print">
            <a:extLst>
              <a:ext uri="{28A0092B-C50C-407E-A947-70E740481C1C}">
                <a14:useLocalDpi xmlns:a14="http://schemas.microsoft.com/office/drawing/2010/main"/>
              </a:ext>
            </a:extLst>
          </a:blip>
          <a:srcRect/>
          <a:stretch/>
        </p:blipFill>
        <p:spPr bwMode="auto">
          <a:xfrm>
            <a:off x="0" y="1194327"/>
            <a:ext cx="2918548" cy="492153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5" name="Picture 5">
            <a:extLst>
              <a:ext uri="{FF2B5EF4-FFF2-40B4-BE49-F238E27FC236}">
                <a16:creationId xmlns:a16="http://schemas.microsoft.com/office/drawing/2014/main" id="{3964E51A-FDE0-C7A6-AB28-8A60FAA3B73A}"/>
              </a:ext>
            </a:extLst>
          </p:cNvPr>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b="-116"/>
          <a:stretch/>
        </p:blipFill>
        <p:spPr bwMode="auto">
          <a:xfrm>
            <a:off x="2976191" y="1194327"/>
            <a:ext cx="2998499" cy="493084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6" name="Picture 7">
            <a:extLst>
              <a:ext uri="{FF2B5EF4-FFF2-40B4-BE49-F238E27FC236}">
                <a16:creationId xmlns:a16="http://schemas.microsoft.com/office/drawing/2014/main" id="{5AA61187-5049-84C8-987C-C4042FDA6244}"/>
              </a:ext>
            </a:extLst>
          </p:cNvPr>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b="-2"/>
          <a:stretch/>
        </p:blipFill>
        <p:spPr bwMode="auto">
          <a:xfrm>
            <a:off x="6032333" y="1188720"/>
            <a:ext cx="3203107" cy="493343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7" name="Picture 2">
            <a:extLst>
              <a:ext uri="{FF2B5EF4-FFF2-40B4-BE49-F238E27FC236}">
                <a16:creationId xmlns:a16="http://schemas.microsoft.com/office/drawing/2014/main" id="{D7B8B01B-3E23-4DB3-7DCF-76632DC9332D}"/>
              </a:ext>
            </a:extLst>
          </p:cNvPr>
          <p:cNvPicPr>
            <a:picLocks noChangeAspect="1" noChangeArrowheads="1"/>
          </p:cNvPicPr>
          <p:nvPr/>
        </p:nvPicPr>
        <p:blipFill rotWithShape="1">
          <a:blip r:embed="rId5" cstate="print">
            <a:extLst>
              <a:ext uri="{28A0092B-C50C-407E-A947-70E740481C1C}">
                <a14:useLocalDpi xmlns:a14="http://schemas.microsoft.com/office/drawing/2010/main"/>
              </a:ext>
            </a:extLst>
          </a:blip>
          <a:srcRect b="-1"/>
          <a:stretch/>
        </p:blipFill>
        <p:spPr bwMode="auto">
          <a:xfrm>
            <a:off x="9302226" y="1179661"/>
            <a:ext cx="2889774" cy="244240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8" name="Picture 3">
            <a:extLst>
              <a:ext uri="{FF2B5EF4-FFF2-40B4-BE49-F238E27FC236}">
                <a16:creationId xmlns:a16="http://schemas.microsoft.com/office/drawing/2014/main" id="{1BAF9066-72DE-E311-49BE-371DE345B9AC}"/>
              </a:ext>
            </a:extLst>
          </p:cNvPr>
          <p:cNvPicPr>
            <a:picLocks noChangeAspect="1" noChangeArrowheads="1"/>
          </p:cNvPicPr>
          <p:nvPr/>
        </p:nvPicPr>
        <p:blipFill rotWithShape="1">
          <a:blip r:embed="rId6" cstate="print">
            <a:extLst>
              <a:ext uri="{28A0092B-C50C-407E-A947-70E740481C1C}">
                <a14:useLocalDpi xmlns:a14="http://schemas.microsoft.com/office/drawing/2010/main"/>
              </a:ext>
            </a:extLst>
          </a:blip>
          <a:srcRect/>
          <a:stretch/>
        </p:blipFill>
        <p:spPr bwMode="auto">
          <a:xfrm>
            <a:off x="9302227" y="3672020"/>
            <a:ext cx="2889773" cy="244851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48507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MM_SLIDE_TYPE" val="6"/>
</p:tagLst>
</file>

<file path=ppt/tags/tag1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1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xml><?xml version="1.0" encoding="utf-8"?>
<p:tagLst xmlns:a="http://schemas.openxmlformats.org/drawingml/2006/main" xmlns:r="http://schemas.openxmlformats.org/officeDocument/2006/relationships" xmlns:p="http://schemas.openxmlformats.org/presentationml/2006/main">
  <p:tag name="SHAPENAME" val="5. Source"/>
</p:tagLst>
</file>

<file path=ppt/tags/tag2.xml><?xml version="1.0" encoding="utf-8"?>
<p:tagLst xmlns:a="http://schemas.openxmlformats.org/drawingml/2006/main" xmlns:r="http://schemas.openxmlformats.org/officeDocument/2006/relationships" xmlns:p="http://schemas.openxmlformats.org/presentationml/2006/main">
  <p:tag name="MM_SLIDE_TYPE" val="6"/>
</p:tagLst>
</file>

<file path=ppt/tags/tag3.xml><?xml version="1.0" encoding="utf-8"?>
<p:tagLst xmlns:a="http://schemas.openxmlformats.org/drawingml/2006/main" xmlns:r="http://schemas.openxmlformats.org/officeDocument/2006/relationships" xmlns:p="http://schemas.openxmlformats.org/presentationml/2006/main">
  <p:tag name="MM_SLIDE_TYPE" val="6"/>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xml><?xml version="1.0" encoding="utf-8"?>
<p:tagLst xmlns:a="http://schemas.openxmlformats.org/drawingml/2006/main" xmlns:r="http://schemas.openxmlformats.org/officeDocument/2006/relationships" xmlns:p="http://schemas.openxmlformats.org/presentationml/2006/main">
  <p:tag name="SHAPENAME" val="3. Subtitle"/>
</p:tagLst>
</file>

<file path=ppt/tags/tag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xml><?xml version="1.0" encoding="utf-8"?>
<p:tagLst xmlns:a="http://schemas.openxmlformats.org/drawingml/2006/main" xmlns:r="http://schemas.openxmlformats.org/officeDocument/2006/relationships" xmlns:p="http://schemas.openxmlformats.org/presentationml/2006/main">
  <p:tag name="SHAPENAME" val="5. Source"/>
</p:tagLst>
</file>

<file path=ppt/theme/theme1.xml><?xml version="1.0" encoding="utf-8"?>
<a:theme xmlns:a="http://schemas.openxmlformats.org/drawingml/2006/main" name="1_Office Theme">
  <a:themeElements>
    <a:clrScheme name="PASE Advisory Group">
      <a:dk1>
        <a:srgbClr val="001647"/>
      </a:dk1>
      <a:lt1>
        <a:srgbClr val="FFFFFF"/>
      </a:lt1>
      <a:dk2>
        <a:srgbClr val="249CF4"/>
      </a:dk2>
      <a:lt2>
        <a:srgbClr val="FFBC0F"/>
      </a:lt2>
      <a:accent1>
        <a:srgbClr val="249CF4"/>
      </a:accent1>
      <a:accent2>
        <a:srgbClr val="FFFFFF"/>
      </a:accent2>
      <a:accent3>
        <a:srgbClr val="001647"/>
      </a:accent3>
      <a:accent4>
        <a:srgbClr val="FFBC0F"/>
      </a:accent4>
      <a:accent5>
        <a:srgbClr val="249CF4"/>
      </a:accent5>
      <a:accent6>
        <a:srgbClr val="F8BC3B"/>
      </a:accent6>
      <a:hlink>
        <a:srgbClr val="3478AB"/>
      </a:hlink>
      <a:folHlink>
        <a:srgbClr val="8B78AB"/>
      </a:folHlink>
    </a:clrScheme>
    <a:fontScheme name="Custom 1">
      <a:majorFont>
        <a:latin typeface="Monseratt"/>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4_Office Theme">
  <a:themeElements>
    <a:clrScheme name="PASE Advisory Group">
      <a:dk1>
        <a:srgbClr val="001647"/>
      </a:dk1>
      <a:lt1>
        <a:srgbClr val="FFFFFF"/>
      </a:lt1>
      <a:dk2>
        <a:srgbClr val="249CF4"/>
      </a:dk2>
      <a:lt2>
        <a:srgbClr val="FFBC0F"/>
      </a:lt2>
      <a:accent1>
        <a:srgbClr val="249CF4"/>
      </a:accent1>
      <a:accent2>
        <a:srgbClr val="FFFFFF"/>
      </a:accent2>
      <a:accent3>
        <a:srgbClr val="001647"/>
      </a:accent3>
      <a:accent4>
        <a:srgbClr val="FFBC0F"/>
      </a:accent4>
      <a:accent5>
        <a:srgbClr val="249CF4"/>
      </a:accent5>
      <a:accent6>
        <a:srgbClr val="F8BC3B"/>
      </a:accent6>
      <a:hlink>
        <a:srgbClr val="3478AB"/>
      </a:hlink>
      <a:folHlink>
        <a:srgbClr val="8B78AB"/>
      </a:folHlink>
    </a:clrScheme>
    <a:fontScheme name="Custom 1">
      <a:majorFont>
        <a:latin typeface="Monseratt"/>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12812</TotalTime>
  <Words>3793</Words>
  <Application>Microsoft Office PowerPoint</Application>
  <PresentationFormat>Widescreen</PresentationFormat>
  <Paragraphs>454</Paragraphs>
  <Slides>41</Slides>
  <Notes>26</Notes>
  <HiddenSlides>0</HiddenSlides>
  <MMClips>0</MMClips>
  <ScaleCrop>false</ScaleCrop>
  <HeadingPairs>
    <vt:vector size="8" baseType="variant">
      <vt:variant>
        <vt:lpstr>Fonts Used</vt:lpstr>
      </vt:variant>
      <vt:variant>
        <vt:i4>14</vt:i4>
      </vt:variant>
      <vt:variant>
        <vt:lpstr>Theme</vt:lpstr>
      </vt:variant>
      <vt:variant>
        <vt:i4>2</vt:i4>
      </vt:variant>
      <vt:variant>
        <vt:lpstr>Embedded OLE Servers</vt:lpstr>
      </vt:variant>
      <vt:variant>
        <vt:i4>1</vt:i4>
      </vt:variant>
      <vt:variant>
        <vt:lpstr>Slide Titles</vt:lpstr>
      </vt:variant>
      <vt:variant>
        <vt:i4>41</vt:i4>
      </vt:variant>
    </vt:vector>
  </HeadingPairs>
  <TitlesOfParts>
    <vt:vector size="58" baseType="lpstr">
      <vt:lpstr>Aptos</vt:lpstr>
      <vt:lpstr>Arial</vt:lpstr>
      <vt:lpstr>Calibri</vt:lpstr>
      <vt:lpstr>DM Serif Text</vt:lpstr>
      <vt:lpstr>Georgia</vt:lpstr>
      <vt:lpstr>Inter</vt:lpstr>
      <vt:lpstr>Kanit</vt:lpstr>
      <vt:lpstr>Kanit ExtraLight</vt:lpstr>
      <vt:lpstr>Kanit Light</vt:lpstr>
      <vt:lpstr>Kanit Thin</vt:lpstr>
      <vt:lpstr>Monseratt</vt:lpstr>
      <vt:lpstr>Monseratt headings</vt:lpstr>
      <vt:lpstr>Source Serif Pro</vt:lpstr>
      <vt:lpstr>Verdana</vt:lpstr>
      <vt:lpstr>1_Office Theme</vt:lpstr>
      <vt:lpstr>4_Office Theme</vt:lpstr>
      <vt:lpstr>think-cell Slide</vt:lpstr>
      <vt:lpstr>The Social Prescription – From Patient Record to Community Insight</vt:lpstr>
      <vt:lpstr>Faculty Disclosure Information</vt:lpstr>
      <vt:lpstr>Learning Objectives</vt:lpstr>
      <vt:lpstr>Changes You May Wish to Make in Practice</vt:lpstr>
      <vt:lpstr>Agenda</vt:lpstr>
      <vt:lpstr>PowerPoint Presentation</vt:lpstr>
      <vt:lpstr>Data Equity – Can EHR Data Quality Identify those at Risk for Marginalization?</vt:lpstr>
      <vt:lpstr>Healthcare Around the World – Haiti</vt:lpstr>
      <vt:lpstr>LIFE Clinic – Village Level Care in Haiti</vt:lpstr>
      <vt:lpstr>PowerPoint Presentation</vt:lpstr>
      <vt:lpstr>PowerPoint Presentation</vt:lpstr>
      <vt:lpstr>PowerPoint Presentation</vt:lpstr>
      <vt:lpstr>PowerPoint Presentation</vt:lpstr>
      <vt:lpstr>In the US, Zip Code &amp; Street Level Divisions Have Different Care Experiences</vt:lpstr>
      <vt:lpstr>Social Vignette</vt:lpstr>
      <vt:lpstr>Social Drivers of Health</vt:lpstr>
      <vt:lpstr>Does the Differential Capture of SDOH Data Further Social Divide?</vt:lpstr>
      <vt:lpstr>What is Data Equity?</vt:lpstr>
      <vt:lpstr>EHR – More than Meets the Eye – Clinical Chronology and Social Factor Suspecting</vt:lpstr>
      <vt:lpstr>EHR Data Quality Study</vt:lpstr>
      <vt:lpstr>Human Readable vs. Machine Readable</vt:lpstr>
      <vt:lpstr>Human Readable vs. Machine Readable</vt:lpstr>
      <vt:lpstr>Do National Data Quality Standards Drive True Data Quality?</vt:lpstr>
      <vt:lpstr>Do Certification Standards Ascertain Data Quality?</vt:lpstr>
      <vt:lpstr>How Well is Basic Demographic Data Captured?</vt:lpstr>
      <vt:lpstr>State of California Experience (128 Million Lab Reports)</vt:lpstr>
      <vt:lpstr>An Overview of this Analysis</vt:lpstr>
      <vt:lpstr>An Overview of this Analysis</vt:lpstr>
      <vt:lpstr>An Overview of this Analysis</vt:lpstr>
      <vt:lpstr>How do Social Divisions Impact Data Quality?</vt:lpstr>
      <vt:lpstr>Size and Count Comparison</vt:lpstr>
      <vt:lpstr>Racial variation in Document size</vt:lpstr>
      <vt:lpstr>Emergency Care by Race</vt:lpstr>
      <vt:lpstr>Racial Variation in Data Quality</vt:lpstr>
      <vt:lpstr>Ethnicity variation in Document Quality</vt:lpstr>
      <vt:lpstr>Language variation in Document Quality</vt:lpstr>
      <vt:lpstr>Age-based variation in Document Quality</vt:lpstr>
      <vt:lpstr>Gender variation in Document Quality</vt:lpstr>
      <vt:lpstr>Religious variation in Document Quality</vt:lpstr>
      <vt:lpstr>Final Thoughts </vt:lpstr>
      <vt:lpstr>Referenc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etloff Rump</dc:creator>
  <cp:lastModifiedBy>Paulo Pinho</cp:lastModifiedBy>
  <cp:revision>14</cp:revision>
  <dcterms:created xsi:type="dcterms:W3CDTF">2024-06-06T06:53:17Z</dcterms:created>
  <dcterms:modified xsi:type="dcterms:W3CDTF">2025-11-06T07:59: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3c9aa860-6a65-4942-a19a-0478291725e1_Enabled">
    <vt:lpwstr>true</vt:lpwstr>
  </property>
  <property fmtid="{D5CDD505-2E9C-101B-9397-08002B2CF9AE}" pid="3" name="MSIP_Label_3c9aa860-6a65-4942-a19a-0478291725e1_SetDate">
    <vt:lpwstr>2024-06-06T06:57:34Z</vt:lpwstr>
  </property>
  <property fmtid="{D5CDD505-2E9C-101B-9397-08002B2CF9AE}" pid="4" name="MSIP_Label_3c9aa860-6a65-4942-a19a-0478291725e1_Method">
    <vt:lpwstr>Privileged</vt:lpwstr>
  </property>
  <property fmtid="{D5CDD505-2E9C-101B-9397-08002B2CF9AE}" pid="5" name="MSIP_Label_3c9aa860-6a65-4942-a19a-0478291725e1_Name">
    <vt:lpwstr>CONFIDENTIAL</vt:lpwstr>
  </property>
  <property fmtid="{D5CDD505-2E9C-101B-9397-08002B2CF9AE}" pid="6" name="MSIP_Label_3c9aa860-6a65-4942-a19a-0478291725e1_SiteId">
    <vt:lpwstr>5d3e2773-e07f-4432-a630-1a0f68a28a05</vt:lpwstr>
  </property>
  <property fmtid="{D5CDD505-2E9C-101B-9397-08002B2CF9AE}" pid="7" name="MSIP_Label_3c9aa860-6a65-4942-a19a-0478291725e1_ActionId">
    <vt:lpwstr>6f89638b-d7b2-4139-a0de-6a0e148a7888</vt:lpwstr>
  </property>
  <property fmtid="{D5CDD505-2E9C-101B-9397-08002B2CF9AE}" pid="8" name="MSIP_Label_3c9aa860-6a65-4942-a19a-0478291725e1_ContentBits">
    <vt:lpwstr>2</vt:lpwstr>
  </property>
  <property fmtid="{D5CDD505-2E9C-101B-9397-08002B2CF9AE}" pid="9" name="ClassificationContentMarkingFooterLocations">
    <vt:lpwstr>Office Theme:8</vt:lpwstr>
  </property>
  <property fmtid="{D5CDD505-2E9C-101B-9397-08002B2CF9AE}" pid="10" name="ClassificationContentMarkingFooterText">
    <vt:lpwstr>CONFIDENTIAL</vt:lpwstr>
  </property>
  <property fmtid="{D5CDD505-2E9C-101B-9397-08002B2CF9AE}" pid="11" name="MSIP_Label_0d0d896c-7307-4e3f-87b0-7d1d5d997a8c_Enabled">
    <vt:lpwstr>true</vt:lpwstr>
  </property>
  <property fmtid="{D5CDD505-2E9C-101B-9397-08002B2CF9AE}" pid="12" name="MSIP_Label_0d0d896c-7307-4e3f-87b0-7d1d5d997a8c_SetDate">
    <vt:lpwstr>2024-09-05T01:19:09Z</vt:lpwstr>
  </property>
  <property fmtid="{D5CDD505-2E9C-101B-9397-08002B2CF9AE}" pid="13" name="MSIP_Label_0d0d896c-7307-4e3f-87b0-7d1d5d997a8c_Method">
    <vt:lpwstr>Privileged</vt:lpwstr>
  </property>
  <property fmtid="{D5CDD505-2E9C-101B-9397-08002B2CF9AE}" pid="14" name="MSIP_Label_0d0d896c-7307-4e3f-87b0-7d1d5d997a8c_Name">
    <vt:lpwstr>Public</vt:lpwstr>
  </property>
  <property fmtid="{D5CDD505-2E9C-101B-9397-08002B2CF9AE}" pid="15" name="MSIP_Label_0d0d896c-7307-4e3f-87b0-7d1d5d997a8c_SiteId">
    <vt:lpwstr>3425dff1-3121-4de4-a918-893fc94ebbbc</vt:lpwstr>
  </property>
  <property fmtid="{D5CDD505-2E9C-101B-9397-08002B2CF9AE}" pid="16" name="MSIP_Label_0d0d896c-7307-4e3f-87b0-7d1d5d997a8c_ActionId">
    <vt:lpwstr>7281be08-4a00-4853-8dec-c8e30219a0b2</vt:lpwstr>
  </property>
  <property fmtid="{D5CDD505-2E9C-101B-9397-08002B2CF9AE}" pid="17" name="MSIP_Label_0d0d896c-7307-4e3f-87b0-7d1d5d997a8c_ContentBits">
    <vt:lpwstr>0</vt:lpwstr>
  </property>
</Properties>
</file>